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1123" r:id="rId5"/>
    <p:sldId id="1124" r:id="rId6"/>
  </p:sldIdLst>
  <p:sldSz cx="12192000" cy="6858000"/>
  <p:notesSz cx="7010400" cy="9296400"/>
  <p:custDataLst>
    <p:tags r:id="rId9"/>
  </p:custData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" userDrawn="1">
          <p15:clr>
            <a:srgbClr val="A4A3A4"/>
          </p15:clr>
        </p15:guide>
        <p15:guide id="18" orient="horz" pos="936" userDrawn="1">
          <p15:clr>
            <a:srgbClr val="A4A3A4"/>
          </p15:clr>
        </p15:guide>
        <p15:guide id="20" orient="horz" pos="4080" userDrawn="1">
          <p15:clr>
            <a:srgbClr val="A4A3A4"/>
          </p15:clr>
        </p15:guide>
        <p15:guide id="23" orient="horz" pos="624" userDrawn="1">
          <p15:clr>
            <a:srgbClr val="A4A3A4"/>
          </p15:clr>
        </p15:guide>
        <p15:guide id="24" pos="264" userDrawn="1">
          <p15:clr>
            <a:srgbClr val="A4A3A4"/>
          </p15:clr>
        </p15:guide>
        <p15:guide id="25" pos="74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8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2F1"/>
    <a:srgbClr val="236192"/>
    <a:srgbClr val="F3F3F3"/>
    <a:srgbClr val="666666"/>
    <a:srgbClr val="FFFFFF"/>
    <a:srgbClr val="2E3535"/>
    <a:srgbClr val="BBC7D4"/>
    <a:srgbClr val="7F7F7F"/>
    <a:srgbClr val="BFBFB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B7B42F-045B-420B-89D7-CE50618DC52A}" v="26" dt="2020-08-26T15:44:06.5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6196" autoAdjust="0"/>
  </p:normalViewPr>
  <p:slideViewPr>
    <p:cSldViewPr snapToGrid="0">
      <p:cViewPr varScale="1">
        <p:scale>
          <a:sx n="99" d="100"/>
          <a:sy n="99" d="100"/>
        </p:scale>
        <p:origin x="504" y="72"/>
      </p:cViewPr>
      <p:guideLst>
        <p:guide orient="horz" pos="408"/>
        <p:guide orient="horz" pos="936"/>
        <p:guide orient="horz" pos="4080"/>
        <p:guide orient="horz" pos="624"/>
        <p:guide pos="264"/>
        <p:guide pos="7416"/>
      </p:guideLst>
    </p:cSldViewPr>
  </p:slideViewPr>
  <p:outlineViewPr>
    <p:cViewPr>
      <p:scale>
        <a:sx n="33" d="100"/>
        <a:sy n="33" d="100"/>
      </p:scale>
      <p:origin x="0" y="-12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0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1063DE0-6FE9-498E-8FC1-7F2F3D8F11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C74FD1-A94D-46BF-BB20-96865979E43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59169F-ADD2-4F8E-BAEE-CA48123F287F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599DDF-7B32-4C19-B0CC-6C76E97904B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29676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DAE12-9F6F-4161-B032-B0586C006B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6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94FFE-488F-4C1A-86CE-B3E211237B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6409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6"/>
            <a:ext cx="5607050" cy="36607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6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790138-71D5-48AF-995D-39D4BC255C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715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00050" indent="-171450" algn="l" defTabSz="914400" rtl="0" eaLnBrk="1" latinLnBrk="0" hangingPunct="1">
      <a:buFont typeface="Century Gothic" panose="020B0502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7063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54075" indent="-171450" algn="l" defTabSz="914400" rtl="0" eaLnBrk="1" latinLnBrk="0" hangingPunct="1">
      <a:buFont typeface="Century Gothic" panose="020B0502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087438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788023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86555" y="1222375"/>
            <a:ext cx="7351776" cy="49560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33715" y="1222375"/>
            <a:ext cx="3429000" cy="49560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6400800"/>
            <a:ext cx="12192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E36FB1-C583-4332-B4F4-44C8830B1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99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or Graphic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E382D4-3AC2-49F9-B25C-6147C6B7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E29014A-1667-4104-A12B-5AC4AEA177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2494" y="3772164"/>
            <a:ext cx="3898506" cy="3323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2EBAD08-1148-4572-8339-450556A14AFF}"/>
              </a:ext>
            </a:extLst>
          </p:cNvPr>
          <p:cNvSpPr/>
          <p:nvPr userDrawn="1"/>
        </p:nvSpPr>
        <p:spPr>
          <a:xfrm rot="2168787" flipH="1">
            <a:off x="6041066" y="4182917"/>
            <a:ext cx="1897491" cy="2583933"/>
          </a:xfrm>
          <a:custGeom>
            <a:avLst/>
            <a:gdLst>
              <a:gd name="connsiteX0" fmla="*/ 2373549 w 2373549"/>
              <a:gd name="connsiteY0" fmla="*/ 0 h 3550596"/>
              <a:gd name="connsiteX1" fmla="*/ 2237362 w 2373549"/>
              <a:gd name="connsiteY1" fmla="*/ 651753 h 3550596"/>
              <a:gd name="connsiteX2" fmla="*/ 778213 w 2373549"/>
              <a:gd name="connsiteY2" fmla="*/ 3531141 h 3550596"/>
              <a:gd name="connsiteX3" fmla="*/ 0 w 2373549"/>
              <a:gd name="connsiteY3" fmla="*/ 3550596 h 3550596"/>
              <a:gd name="connsiteX4" fmla="*/ 2373549 w 2373549"/>
              <a:gd name="connsiteY4" fmla="*/ 0 h 3550596"/>
              <a:gd name="connsiteX0" fmla="*/ 2422187 w 2422187"/>
              <a:gd name="connsiteY0" fmla="*/ 0 h 3540868"/>
              <a:gd name="connsiteX1" fmla="*/ 2237362 w 2422187"/>
              <a:gd name="connsiteY1" fmla="*/ 642025 h 3540868"/>
              <a:gd name="connsiteX2" fmla="*/ 778213 w 2422187"/>
              <a:gd name="connsiteY2" fmla="*/ 3521413 h 3540868"/>
              <a:gd name="connsiteX3" fmla="*/ 0 w 2422187"/>
              <a:gd name="connsiteY3" fmla="*/ 3540868 h 3540868"/>
              <a:gd name="connsiteX4" fmla="*/ 2422187 w 2422187"/>
              <a:gd name="connsiteY4" fmla="*/ 0 h 3540868"/>
              <a:gd name="connsiteX0" fmla="*/ 2422187 w 2422187"/>
              <a:gd name="connsiteY0" fmla="*/ 0 h 3550596"/>
              <a:gd name="connsiteX1" fmla="*/ 2237362 w 2422187"/>
              <a:gd name="connsiteY1" fmla="*/ 642025 h 3550596"/>
              <a:gd name="connsiteX2" fmla="*/ 768485 w 2422187"/>
              <a:gd name="connsiteY2" fmla="*/ 3550596 h 3550596"/>
              <a:gd name="connsiteX3" fmla="*/ 0 w 2422187"/>
              <a:gd name="connsiteY3" fmla="*/ 3540868 h 3550596"/>
              <a:gd name="connsiteX4" fmla="*/ 2422187 w 2422187"/>
              <a:gd name="connsiteY4" fmla="*/ 0 h 3550596"/>
              <a:gd name="connsiteX0" fmla="*/ 2014182 w 2014182"/>
              <a:gd name="connsiteY0" fmla="*/ 0 h 3550596"/>
              <a:gd name="connsiteX1" fmla="*/ 1829357 w 2014182"/>
              <a:gd name="connsiteY1" fmla="*/ 642025 h 3550596"/>
              <a:gd name="connsiteX2" fmla="*/ 360480 w 2014182"/>
              <a:gd name="connsiteY2" fmla="*/ 3550596 h 3550596"/>
              <a:gd name="connsiteX3" fmla="*/ 0 w 2014182"/>
              <a:gd name="connsiteY3" fmla="*/ 2888639 h 3550596"/>
              <a:gd name="connsiteX4" fmla="*/ 2014182 w 2014182"/>
              <a:gd name="connsiteY4" fmla="*/ 0 h 3550596"/>
              <a:gd name="connsiteX0" fmla="*/ 2014182 w 2014182"/>
              <a:gd name="connsiteY0" fmla="*/ 0 h 3317365"/>
              <a:gd name="connsiteX1" fmla="*/ 1829357 w 2014182"/>
              <a:gd name="connsiteY1" fmla="*/ 642025 h 3317365"/>
              <a:gd name="connsiteX2" fmla="*/ 514127 w 2014182"/>
              <a:gd name="connsiteY2" fmla="*/ 3317365 h 3317365"/>
              <a:gd name="connsiteX3" fmla="*/ 0 w 2014182"/>
              <a:gd name="connsiteY3" fmla="*/ 2888639 h 3317365"/>
              <a:gd name="connsiteX4" fmla="*/ 2014182 w 2014182"/>
              <a:gd name="connsiteY4" fmla="*/ 0 h 3317365"/>
              <a:gd name="connsiteX0" fmla="*/ 1897491 w 1897491"/>
              <a:gd name="connsiteY0" fmla="*/ 0 h 3317365"/>
              <a:gd name="connsiteX1" fmla="*/ 1712666 w 1897491"/>
              <a:gd name="connsiteY1" fmla="*/ 642025 h 3317365"/>
              <a:gd name="connsiteX2" fmla="*/ 397436 w 1897491"/>
              <a:gd name="connsiteY2" fmla="*/ 3317365 h 3317365"/>
              <a:gd name="connsiteX3" fmla="*/ 0 w 1897491"/>
              <a:gd name="connsiteY3" fmla="*/ 3077268 h 3317365"/>
              <a:gd name="connsiteX4" fmla="*/ 1897491 w 1897491"/>
              <a:gd name="connsiteY4" fmla="*/ 0 h 3317365"/>
              <a:gd name="connsiteX0" fmla="*/ 1897491 w 1897491"/>
              <a:gd name="connsiteY0" fmla="*/ 0 h 3317365"/>
              <a:gd name="connsiteX1" fmla="*/ 1696980 w 1897491"/>
              <a:gd name="connsiteY1" fmla="*/ 483799 h 3317365"/>
              <a:gd name="connsiteX2" fmla="*/ 397436 w 1897491"/>
              <a:gd name="connsiteY2" fmla="*/ 3317365 h 3317365"/>
              <a:gd name="connsiteX3" fmla="*/ 0 w 1897491"/>
              <a:gd name="connsiteY3" fmla="*/ 3077268 h 3317365"/>
              <a:gd name="connsiteX4" fmla="*/ 1897491 w 1897491"/>
              <a:gd name="connsiteY4" fmla="*/ 0 h 3317365"/>
              <a:gd name="connsiteX0" fmla="*/ 1897491 w 1897491"/>
              <a:gd name="connsiteY0" fmla="*/ 0 h 3317365"/>
              <a:gd name="connsiteX1" fmla="*/ 397436 w 1897491"/>
              <a:gd name="connsiteY1" fmla="*/ 3317365 h 3317365"/>
              <a:gd name="connsiteX2" fmla="*/ 0 w 1897491"/>
              <a:gd name="connsiteY2" fmla="*/ 3077268 h 3317365"/>
              <a:gd name="connsiteX3" fmla="*/ 1897491 w 1897491"/>
              <a:gd name="connsiteY3" fmla="*/ 0 h 3317365"/>
              <a:gd name="connsiteX0" fmla="*/ 1897491 w 1897491"/>
              <a:gd name="connsiteY0" fmla="*/ 0 h 3442638"/>
              <a:gd name="connsiteX1" fmla="*/ 328447 w 1897491"/>
              <a:gd name="connsiteY1" fmla="*/ 3442638 h 3442638"/>
              <a:gd name="connsiteX2" fmla="*/ 0 w 1897491"/>
              <a:gd name="connsiteY2" fmla="*/ 3077268 h 3442638"/>
              <a:gd name="connsiteX3" fmla="*/ 1897491 w 1897491"/>
              <a:gd name="connsiteY3" fmla="*/ 0 h 3442638"/>
              <a:gd name="connsiteX0" fmla="*/ 1897491 w 1897491"/>
              <a:gd name="connsiteY0" fmla="*/ 0 h 3427335"/>
              <a:gd name="connsiteX1" fmla="*/ 336874 w 1897491"/>
              <a:gd name="connsiteY1" fmla="*/ 3427335 h 3427335"/>
              <a:gd name="connsiteX2" fmla="*/ 0 w 1897491"/>
              <a:gd name="connsiteY2" fmla="*/ 3077268 h 3427335"/>
              <a:gd name="connsiteX3" fmla="*/ 1897491 w 1897491"/>
              <a:gd name="connsiteY3" fmla="*/ 0 h 342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7491" h="3427335">
                <a:moveTo>
                  <a:pt x="1897491" y="0"/>
                </a:moveTo>
                <a:lnTo>
                  <a:pt x="336874" y="3427335"/>
                </a:lnTo>
                <a:lnTo>
                  <a:pt x="0" y="3077268"/>
                </a:lnTo>
                <a:lnTo>
                  <a:pt x="1897491" y="0"/>
                </a:lnTo>
                <a:close/>
              </a:path>
            </a:pathLst>
          </a:custGeom>
          <a:gradFill>
            <a:gsLst>
              <a:gs pos="27000">
                <a:srgbClr val="5EAC3E"/>
              </a:gs>
              <a:gs pos="64000">
                <a:srgbClr val="67BD4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ight Triangle 19">
            <a:extLst>
              <a:ext uri="{FF2B5EF4-FFF2-40B4-BE49-F238E27FC236}">
                <a16:creationId xmlns:a16="http://schemas.microsoft.com/office/drawing/2014/main" id="{4A5DA0C8-10D5-44A9-83BE-84558C2F7E54}"/>
              </a:ext>
            </a:extLst>
          </p:cNvPr>
          <p:cNvSpPr/>
          <p:nvPr userDrawn="1"/>
        </p:nvSpPr>
        <p:spPr>
          <a:xfrm rot="16795508" flipV="1">
            <a:off x="5209183" y="5033334"/>
            <a:ext cx="3374355" cy="488922"/>
          </a:xfrm>
          <a:custGeom>
            <a:avLst/>
            <a:gdLst>
              <a:gd name="connsiteX0" fmla="*/ 0 w 5331354"/>
              <a:gd name="connsiteY0" fmla="*/ 399619 h 399619"/>
              <a:gd name="connsiteX1" fmla="*/ 0 w 5331354"/>
              <a:gd name="connsiteY1" fmla="*/ 0 h 399619"/>
              <a:gd name="connsiteX2" fmla="*/ 5331354 w 5331354"/>
              <a:gd name="connsiteY2" fmla="*/ 399619 h 399619"/>
              <a:gd name="connsiteX3" fmla="*/ 0 w 5331354"/>
              <a:gd name="connsiteY3" fmla="*/ 399619 h 399619"/>
              <a:gd name="connsiteX0" fmla="*/ 136591 w 5331354"/>
              <a:gd name="connsiteY0" fmla="*/ 405510 h 405510"/>
              <a:gd name="connsiteX1" fmla="*/ 0 w 5331354"/>
              <a:gd name="connsiteY1" fmla="*/ 0 h 405510"/>
              <a:gd name="connsiteX2" fmla="*/ 5331354 w 5331354"/>
              <a:gd name="connsiteY2" fmla="*/ 399619 h 405510"/>
              <a:gd name="connsiteX3" fmla="*/ 136591 w 5331354"/>
              <a:gd name="connsiteY3" fmla="*/ 405510 h 405510"/>
              <a:gd name="connsiteX0" fmla="*/ 111532 w 5306295"/>
              <a:gd name="connsiteY0" fmla="*/ 408856 h 408856"/>
              <a:gd name="connsiteX1" fmla="*/ 0 w 5306295"/>
              <a:gd name="connsiteY1" fmla="*/ 0 h 408856"/>
              <a:gd name="connsiteX2" fmla="*/ 5306295 w 5306295"/>
              <a:gd name="connsiteY2" fmla="*/ 402965 h 408856"/>
              <a:gd name="connsiteX3" fmla="*/ 111532 w 5306295"/>
              <a:gd name="connsiteY3" fmla="*/ 408856 h 408856"/>
              <a:gd name="connsiteX0" fmla="*/ 111532 w 5306295"/>
              <a:gd name="connsiteY0" fmla="*/ 408856 h 408856"/>
              <a:gd name="connsiteX1" fmla="*/ 0 w 5306295"/>
              <a:gd name="connsiteY1" fmla="*/ 0 h 408856"/>
              <a:gd name="connsiteX2" fmla="*/ 5306295 w 5306295"/>
              <a:gd name="connsiteY2" fmla="*/ 402965 h 408856"/>
              <a:gd name="connsiteX3" fmla="*/ 111532 w 5306295"/>
              <a:gd name="connsiteY3" fmla="*/ 408856 h 408856"/>
              <a:gd name="connsiteX0" fmla="*/ 116434 w 5311197"/>
              <a:gd name="connsiteY0" fmla="*/ 395244 h 395244"/>
              <a:gd name="connsiteX1" fmla="*/ 0 w 5311197"/>
              <a:gd name="connsiteY1" fmla="*/ 0 h 395244"/>
              <a:gd name="connsiteX2" fmla="*/ 5311197 w 5311197"/>
              <a:gd name="connsiteY2" fmla="*/ 389353 h 395244"/>
              <a:gd name="connsiteX3" fmla="*/ 116434 w 5311197"/>
              <a:gd name="connsiteY3" fmla="*/ 395244 h 395244"/>
              <a:gd name="connsiteX0" fmla="*/ 116434 w 5311197"/>
              <a:gd name="connsiteY0" fmla="*/ 395244 h 395244"/>
              <a:gd name="connsiteX1" fmla="*/ 0 w 5311197"/>
              <a:gd name="connsiteY1" fmla="*/ 0 h 395244"/>
              <a:gd name="connsiteX2" fmla="*/ 5311197 w 5311197"/>
              <a:gd name="connsiteY2" fmla="*/ 389353 h 395244"/>
              <a:gd name="connsiteX3" fmla="*/ 116434 w 5311197"/>
              <a:gd name="connsiteY3" fmla="*/ 395244 h 395244"/>
              <a:gd name="connsiteX0" fmla="*/ 1344 w 5311197"/>
              <a:gd name="connsiteY0" fmla="*/ 388948 h 389353"/>
              <a:gd name="connsiteX1" fmla="*/ 0 w 5311197"/>
              <a:gd name="connsiteY1" fmla="*/ 0 h 389353"/>
              <a:gd name="connsiteX2" fmla="*/ 5311197 w 5311197"/>
              <a:gd name="connsiteY2" fmla="*/ 389353 h 389353"/>
              <a:gd name="connsiteX3" fmla="*/ 1344 w 5311197"/>
              <a:gd name="connsiteY3" fmla="*/ 388948 h 389353"/>
              <a:gd name="connsiteX0" fmla="*/ -1 w 5411982"/>
              <a:gd name="connsiteY0" fmla="*/ 377952 h 389353"/>
              <a:gd name="connsiteX1" fmla="*/ 100785 w 5411982"/>
              <a:gd name="connsiteY1" fmla="*/ 0 h 389353"/>
              <a:gd name="connsiteX2" fmla="*/ 5411982 w 5411982"/>
              <a:gd name="connsiteY2" fmla="*/ 389353 h 389353"/>
              <a:gd name="connsiteX3" fmla="*/ -1 w 5411982"/>
              <a:gd name="connsiteY3" fmla="*/ 377952 h 389353"/>
              <a:gd name="connsiteX0" fmla="*/ 0 w 5529854"/>
              <a:gd name="connsiteY0" fmla="*/ 483997 h 483997"/>
              <a:gd name="connsiteX1" fmla="*/ 218657 w 5529854"/>
              <a:gd name="connsiteY1" fmla="*/ 0 h 483997"/>
              <a:gd name="connsiteX2" fmla="*/ 5529854 w 5529854"/>
              <a:gd name="connsiteY2" fmla="*/ 389353 h 483997"/>
              <a:gd name="connsiteX3" fmla="*/ 0 w 5529854"/>
              <a:gd name="connsiteY3" fmla="*/ 483997 h 483997"/>
              <a:gd name="connsiteX0" fmla="*/ 0 w 5484107"/>
              <a:gd name="connsiteY0" fmla="*/ 488922 h 488922"/>
              <a:gd name="connsiteX1" fmla="*/ 172910 w 5484107"/>
              <a:gd name="connsiteY1" fmla="*/ 0 h 488922"/>
              <a:gd name="connsiteX2" fmla="*/ 5484107 w 5484107"/>
              <a:gd name="connsiteY2" fmla="*/ 389353 h 488922"/>
              <a:gd name="connsiteX3" fmla="*/ 0 w 5484107"/>
              <a:gd name="connsiteY3" fmla="*/ 488922 h 488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84107" h="488922">
                <a:moveTo>
                  <a:pt x="0" y="488922"/>
                </a:moveTo>
                <a:lnTo>
                  <a:pt x="172910" y="0"/>
                </a:lnTo>
                <a:lnTo>
                  <a:pt x="5484107" y="389353"/>
                </a:lnTo>
                <a:lnTo>
                  <a:pt x="0" y="488922"/>
                </a:lnTo>
                <a:close/>
              </a:path>
            </a:pathLst>
          </a:custGeom>
          <a:gradFill>
            <a:gsLst>
              <a:gs pos="2000">
                <a:srgbClr val="3A6D25"/>
              </a:gs>
              <a:gs pos="43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Right Triangle 18">
            <a:extLst>
              <a:ext uri="{FF2B5EF4-FFF2-40B4-BE49-F238E27FC236}">
                <a16:creationId xmlns:a16="http://schemas.microsoft.com/office/drawing/2014/main" id="{58CFBAE4-1168-419C-B350-B75CFAB5B65F}"/>
              </a:ext>
            </a:extLst>
          </p:cNvPr>
          <p:cNvSpPr/>
          <p:nvPr userDrawn="1"/>
        </p:nvSpPr>
        <p:spPr>
          <a:xfrm rot="16620000" flipH="1" flipV="1">
            <a:off x="5298642" y="2672854"/>
            <a:ext cx="3979453" cy="531501"/>
          </a:xfrm>
          <a:custGeom>
            <a:avLst/>
            <a:gdLst>
              <a:gd name="connsiteX0" fmla="*/ 0 w 5331354"/>
              <a:gd name="connsiteY0" fmla="*/ 399619 h 399619"/>
              <a:gd name="connsiteX1" fmla="*/ 0 w 5331354"/>
              <a:gd name="connsiteY1" fmla="*/ 0 h 399619"/>
              <a:gd name="connsiteX2" fmla="*/ 5331354 w 5331354"/>
              <a:gd name="connsiteY2" fmla="*/ 399619 h 399619"/>
              <a:gd name="connsiteX3" fmla="*/ 0 w 5331354"/>
              <a:gd name="connsiteY3" fmla="*/ 399619 h 399619"/>
              <a:gd name="connsiteX0" fmla="*/ 0 w 5331354"/>
              <a:gd name="connsiteY0" fmla="*/ 383433 h 383433"/>
              <a:gd name="connsiteX1" fmla="*/ 113815 w 5331354"/>
              <a:gd name="connsiteY1" fmla="*/ 0 h 383433"/>
              <a:gd name="connsiteX2" fmla="*/ 5331354 w 5331354"/>
              <a:gd name="connsiteY2" fmla="*/ 383433 h 383433"/>
              <a:gd name="connsiteX3" fmla="*/ 0 w 5331354"/>
              <a:gd name="connsiteY3" fmla="*/ 383433 h 383433"/>
              <a:gd name="connsiteX0" fmla="*/ 0 w 5315968"/>
              <a:gd name="connsiteY0" fmla="*/ 394410 h 394410"/>
              <a:gd name="connsiteX1" fmla="*/ 98429 w 5315968"/>
              <a:gd name="connsiteY1" fmla="*/ 0 h 394410"/>
              <a:gd name="connsiteX2" fmla="*/ 5315968 w 5315968"/>
              <a:gd name="connsiteY2" fmla="*/ 383433 h 394410"/>
              <a:gd name="connsiteX3" fmla="*/ 0 w 5315968"/>
              <a:gd name="connsiteY3" fmla="*/ 394410 h 394410"/>
              <a:gd name="connsiteX0" fmla="*/ 0 w 5315968"/>
              <a:gd name="connsiteY0" fmla="*/ 393107 h 393107"/>
              <a:gd name="connsiteX1" fmla="*/ 123037 w 5315968"/>
              <a:gd name="connsiteY1" fmla="*/ 0 h 393107"/>
              <a:gd name="connsiteX2" fmla="*/ 5315968 w 5315968"/>
              <a:gd name="connsiteY2" fmla="*/ 382130 h 393107"/>
              <a:gd name="connsiteX3" fmla="*/ 0 w 5315968"/>
              <a:gd name="connsiteY3" fmla="*/ 393107 h 393107"/>
              <a:gd name="connsiteX0" fmla="*/ 0 w 5232508"/>
              <a:gd name="connsiteY0" fmla="*/ 394326 h 394326"/>
              <a:gd name="connsiteX1" fmla="*/ 39577 w 5232508"/>
              <a:gd name="connsiteY1" fmla="*/ 0 h 394326"/>
              <a:gd name="connsiteX2" fmla="*/ 5232508 w 5232508"/>
              <a:gd name="connsiteY2" fmla="*/ 382130 h 394326"/>
              <a:gd name="connsiteX3" fmla="*/ 0 w 5232508"/>
              <a:gd name="connsiteY3" fmla="*/ 394326 h 394326"/>
              <a:gd name="connsiteX0" fmla="*/ 0 w 5232508"/>
              <a:gd name="connsiteY0" fmla="*/ 370869 h 370869"/>
              <a:gd name="connsiteX1" fmla="*/ 99143 w 5232508"/>
              <a:gd name="connsiteY1" fmla="*/ 0 h 370869"/>
              <a:gd name="connsiteX2" fmla="*/ 5232508 w 5232508"/>
              <a:gd name="connsiteY2" fmla="*/ 358673 h 370869"/>
              <a:gd name="connsiteX3" fmla="*/ 0 w 5232508"/>
              <a:gd name="connsiteY3" fmla="*/ 370869 h 370869"/>
              <a:gd name="connsiteX0" fmla="*/ 0 w 5232508"/>
              <a:gd name="connsiteY0" fmla="*/ 370869 h 370869"/>
              <a:gd name="connsiteX1" fmla="*/ 99143 w 5232508"/>
              <a:gd name="connsiteY1" fmla="*/ 0 h 370869"/>
              <a:gd name="connsiteX2" fmla="*/ 5232508 w 5232508"/>
              <a:gd name="connsiteY2" fmla="*/ 358673 h 370869"/>
              <a:gd name="connsiteX3" fmla="*/ 0 w 5232508"/>
              <a:gd name="connsiteY3" fmla="*/ 370869 h 370869"/>
              <a:gd name="connsiteX0" fmla="*/ 0 w 5232508"/>
              <a:gd name="connsiteY0" fmla="*/ 371685 h 371685"/>
              <a:gd name="connsiteX1" fmla="*/ 95707 w 5232508"/>
              <a:gd name="connsiteY1" fmla="*/ 0 h 371685"/>
              <a:gd name="connsiteX2" fmla="*/ 5232508 w 5232508"/>
              <a:gd name="connsiteY2" fmla="*/ 359489 h 371685"/>
              <a:gd name="connsiteX3" fmla="*/ 0 w 5232508"/>
              <a:gd name="connsiteY3" fmla="*/ 371685 h 371685"/>
              <a:gd name="connsiteX0" fmla="*/ 0 w 5222204"/>
              <a:gd name="connsiteY0" fmla="*/ 374133 h 374133"/>
              <a:gd name="connsiteX1" fmla="*/ 85403 w 5222204"/>
              <a:gd name="connsiteY1" fmla="*/ 0 h 374133"/>
              <a:gd name="connsiteX2" fmla="*/ 5222204 w 5222204"/>
              <a:gd name="connsiteY2" fmla="*/ 359489 h 374133"/>
              <a:gd name="connsiteX3" fmla="*/ 0 w 5222204"/>
              <a:gd name="connsiteY3" fmla="*/ 374133 h 374133"/>
              <a:gd name="connsiteX0" fmla="*/ 0 w 5222204"/>
              <a:gd name="connsiteY0" fmla="*/ 366820 h 366820"/>
              <a:gd name="connsiteX1" fmla="*/ 183440 w 5222204"/>
              <a:gd name="connsiteY1" fmla="*/ 0 h 366820"/>
              <a:gd name="connsiteX2" fmla="*/ 5222204 w 5222204"/>
              <a:gd name="connsiteY2" fmla="*/ 352176 h 366820"/>
              <a:gd name="connsiteX3" fmla="*/ 0 w 5222204"/>
              <a:gd name="connsiteY3" fmla="*/ 366820 h 366820"/>
              <a:gd name="connsiteX0" fmla="*/ 0 w 5201443"/>
              <a:gd name="connsiteY0" fmla="*/ 360077 h 360077"/>
              <a:gd name="connsiteX1" fmla="*/ 162679 w 5201443"/>
              <a:gd name="connsiteY1" fmla="*/ 0 h 360077"/>
              <a:gd name="connsiteX2" fmla="*/ 5201443 w 5201443"/>
              <a:gd name="connsiteY2" fmla="*/ 352176 h 360077"/>
              <a:gd name="connsiteX3" fmla="*/ 0 w 5201443"/>
              <a:gd name="connsiteY3" fmla="*/ 360077 h 360077"/>
              <a:gd name="connsiteX0" fmla="*/ 46317 w 5038764"/>
              <a:gd name="connsiteY0" fmla="*/ 357631 h 357631"/>
              <a:gd name="connsiteX1" fmla="*/ 0 w 5038764"/>
              <a:gd name="connsiteY1" fmla="*/ 0 h 357631"/>
              <a:gd name="connsiteX2" fmla="*/ 5038764 w 5038764"/>
              <a:gd name="connsiteY2" fmla="*/ 352176 h 357631"/>
              <a:gd name="connsiteX3" fmla="*/ 46317 w 5038764"/>
              <a:gd name="connsiteY3" fmla="*/ 357631 h 357631"/>
              <a:gd name="connsiteX0" fmla="*/ 16835 w 5009282"/>
              <a:gd name="connsiteY0" fmla="*/ 340756 h 340756"/>
              <a:gd name="connsiteX1" fmla="*/ 0 w 5009282"/>
              <a:gd name="connsiteY1" fmla="*/ 0 h 340756"/>
              <a:gd name="connsiteX2" fmla="*/ 5009282 w 5009282"/>
              <a:gd name="connsiteY2" fmla="*/ 335301 h 340756"/>
              <a:gd name="connsiteX3" fmla="*/ 16835 w 5009282"/>
              <a:gd name="connsiteY3" fmla="*/ 340756 h 340756"/>
              <a:gd name="connsiteX0" fmla="*/ 15607 w 5008054"/>
              <a:gd name="connsiteY0" fmla="*/ 319245 h 319245"/>
              <a:gd name="connsiteX1" fmla="*/ 0 w 5008054"/>
              <a:gd name="connsiteY1" fmla="*/ 0 h 319245"/>
              <a:gd name="connsiteX2" fmla="*/ 5008054 w 5008054"/>
              <a:gd name="connsiteY2" fmla="*/ 313790 h 319245"/>
              <a:gd name="connsiteX3" fmla="*/ 15607 w 5008054"/>
              <a:gd name="connsiteY3" fmla="*/ 319245 h 319245"/>
              <a:gd name="connsiteX0" fmla="*/ 15607 w 4528131"/>
              <a:gd name="connsiteY0" fmla="*/ 319245 h 319245"/>
              <a:gd name="connsiteX1" fmla="*/ 0 w 4528131"/>
              <a:gd name="connsiteY1" fmla="*/ 0 h 319245"/>
              <a:gd name="connsiteX2" fmla="*/ 4528131 w 4528131"/>
              <a:gd name="connsiteY2" fmla="*/ 303482 h 319245"/>
              <a:gd name="connsiteX3" fmla="*/ 15607 w 4528131"/>
              <a:gd name="connsiteY3" fmla="*/ 319245 h 319245"/>
              <a:gd name="connsiteX0" fmla="*/ 96104 w 4528131"/>
              <a:gd name="connsiteY0" fmla="*/ 320247 h 320247"/>
              <a:gd name="connsiteX1" fmla="*/ 0 w 4528131"/>
              <a:gd name="connsiteY1" fmla="*/ 0 h 320247"/>
              <a:gd name="connsiteX2" fmla="*/ 4528131 w 4528131"/>
              <a:gd name="connsiteY2" fmla="*/ 303482 h 320247"/>
              <a:gd name="connsiteX3" fmla="*/ 96104 w 4528131"/>
              <a:gd name="connsiteY3" fmla="*/ 320247 h 320247"/>
              <a:gd name="connsiteX0" fmla="*/ 56804 w 4528131"/>
              <a:gd name="connsiteY0" fmla="*/ 323590 h 323590"/>
              <a:gd name="connsiteX1" fmla="*/ 0 w 4528131"/>
              <a:gd name="connsiteY1" fmla="*/ 0 h 323590"/>
              <a:gd name="connsiteX2" fmla="*/ 4528131 w 4528131"/>
              <a:gd name="connsiteY2" fmla="*/ 303482 h 323590"/>
              <a:gd name="connsiteX3" fmla="*/ 56804 w 4528131"/>
              <a:gd name="connsiteY3" fmla="*/ 323590 h 323590"/>
              <a:gd name="connsiteX0" fmla="*/ 56804 w 4573128"/>
              <a:gd name="connsiteY0" fmla="*/ 323590 h 323590"/>
              <a:gd name="connsiteX1" fmla="*/ 0 w 4573128"/>
              <a:gd name="connsiteY1" fmla="*/ 0 h 323590"/>
              <a:gd name="connsiteX2" fmla="*/ 4573127 w 4573128"/>
              <a:gd name="connsiteY2" fmla="*/ 323202 h 323590"/>
              <a:gd name="connsiteX3" fmla="*/ 56804 w 4573128"/>
              <a:gd name="connsiteY3" fmla="*/ 323590 h 323590"/>
              <a:gd name="connsiteX0" fmla="*/ 66106 w 4582429"/>
              <a:gd name="connsiteY0" fmla="*/ 307100 h 307100"/>
              <a:gd name="connsiteX1" fmla="*/ 0 w 4582429"/>
              <a:gd name="connsiteY1" fmla="*/ 0 h 307100"/>
              <a:gd name="connsiteX2" fmla="*/ 4582429 w 4582429"/>
              <a:gd name="connsiteY2" fmla="*/ 306712 h 307100"/>
              <a:gd name="connsiteX3" fmla="*/ 66106 w 4582429"/>
              <a:gd name="connsiteY3" fmla="*/ 307100 h 307100"/>
              <a:gd name="connsiteX0" fmla="*/ 66106 w 4592149"/>
              <a:gd name="connsiteY0" fmla="*/ 307100 h 346066"/>
              <a:gd name="connsiteX1" fmla="*/ 0 w 4592149"/>
              <a:gd name="connsiteY1" fmla="*/ 0 h 346066"/>
              <a:gd name="connsiteX2" fmla="*/ 4592150 w 4592149"/>
              <a:gd name="connsiteY2" fmla="*/ 346066 h 346066"/>
              <a:gd name="connsiteX3" fmla="*/ 66106 w 4592149"/>
              <a:gd name="connsiteY3" fmla="*/ 307100 h 346066"/>
              <a:gd name="connsiteX0" fmla="*/ 66106 w 4612206"/>
              <a:gd name="connsiteY0" fmla="*/ 307100 h 376672"/>
              <a:gd name="connsiteX1" fmla="*/ 0 w 4612206"/>
              <a:gd name="connsiteY1" fmla="*/ 0 h 376672"/>
              <a:gd name="connsiteX2" fmla="*/ 4612206 w 4612206"/>
              <a:gd name="connsiteY2" fmla="*/ 376672 h 376672"/>
              <a:gd name="connsiteX3" fmla="*/ 66106 w 4612206"/>
              <a:gd name="connsiteY3" fmla="*/ 307100 h 376672"/>
              <a:gd name="connsiteX0" fmla="*/ 66106 w 4601387"/>
              <a:gd name="connsiteY0" fmla="*/ 307100 h 377488"/>
              <a:gd name="connsiteX1" fmla="*/ 0 w 4601387"/>
              <a:gd name="connsiteY1" fmla="*/ 0 h 377488"/>
              <a:gd name="connsiteX2" fmla="*/ 4601387 w 4601387"/>
              <a:gd name="connsiteY2" fmla="*/ 377488 h 377488"/>
              <a:gd name="connsiteX3" fmla="*/ 66106 w 4601387"/>
              <a:gd name="connsiteY3" fmla="*/ 307100 h 377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01387" h="377488">
                <a:moveTo>
                  <a:pt x="66106" y="307100"/>
                </a:moveTo>
                <a:lnTo>
                  <a:pt x="0" y="0"/>
                </a:lnTo>
                <a:lnTo>
                  <a:pt x="4601387" y="377488"/>
                </a:lnTo>
                <a:lnTo>
                  <a:pt x="66106" y="307100"/>
                </a:lnTo>
                <a:close/>
              </a:path>
            </a:pathLst>
          </a:custGeom>
          <a:gradFill>
            <a:gsLst>
              <a:gs pos="0">
                <a:srgbClr val="2E3535"/>
              </a:gs>
              <a:gs pos="69000">
                <a:srgbClr val="46505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41787F7-45E6-44C5-94F6-776E2B7E374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4262" y="1022562"/>
            <a:ext cx="7387529" cy="5867123"/>
          </a:xfrm>
          <a:custGeom>
            <a:avLst/>
            <a:gdLst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7796213 w 7796213"/>
              <a:gd name="connsiteY3" fmla="*/ 5833872 h 5833872"/>
              <a:gd name="connsiteX4" fmla="*/ 0 w 7796213"/>
              <a:gd name="connsiteY4" fmla="*/ 5833872 h 5833872"/>
              <a:gd name="connsiteX5" fmla="*/ 0 w 7796213"/>
              <a:gd name="connsiteY5" fmla="*/ 0 h 5833872"/>
              <a:gd name="connsiteX6" fmla="*/ 0 w 7796213"/>
              <a:gd name="connsiteY6" fmla="*/ 0 h 5833872"/>
              <a:gd name="connsiteX0" fmla="*/ 0 w 7816645"/>
              <a:gd name="connsiteY0" fmla="*/ 0 h 5833872"/>
              <a:gd name="connsiteX1" fmla="*/ 7796213 w 7816645"/>
              <a:gd name="connsiteY1" fmla="*/ 0 h 5833872"/>
              <a:gd name="connsiteX2" fmla="*/ 7796213 w 7816645"/>
              <a:gd name="connsiteY2" fmla="*/ 0 h 5833872"/>
              <a:gd name="connsiteX3" fmla="*/ 7816645 w 7816645"/>
              <a:gd name="connsiteY3" fmla="*/ 1728904 h 5833872"/>
              <a:gd name="connsiteX4" fmla="*/ 7796213 w 7816645"/>
              <a:gd name="connsiteY4" fmla="*/ 5833872 h 5833872"/>
              <a:gd name="connsiteX5" fmla="*/ 0 w 7816645"/>
              <a:gd name="connsiteY5" fmla="*/ 5833872 h 5833872"/>
              <a:gd name="connsiteX6" fmla="*/ 0 w 7816645"/>
              <a:gd name="connsiteY6" fmla="*/ 0 h 5833872"/>
              <a:gd name="connsiteX7" fmla="*/ 0 w 7816645"/>
              <a:gd name="connsiteY7" fmla="*/ 0 h 5833872"/>
              <a:gd name="connsiteX0" fmla="*/ 0 w 7816645"/>
              <a:gd name="connsiteY0" fmla="*/ 0 h 5833872"/>
              <a:gd name="connsiteX1" fmla="*/ 7796213 w 7816645"/>
              <a:gd name="connsiteY1" fmla="*/ 0 h 5833872"/>
              <a:gd name="connsiteX2" fmla="*/ 7796213 w 7816645"/>
              <a:gd name="connsiteY2" fmla="*/ 0 h 5833872"/>
              <a:gd name="connsiteX3" fmla="*/ 7816645 w 7816645"/>
              <a:gd name="connsiteY3" fmla="*/ 1728904 h 5833872"/>
              <a:gd name="connsiteX4" fmla="*/ 7796981 w 7816645"/>
              <a:gd name="connsiteY4" fmla="*/ 3665859 h 5833872"/>
              <a:gd name="connsiteX5" fmla="*/ 7796213 w 7816645"/>
              <a:gd name="connsiteY5" fmla="*/ 5833872 h 5833872"/>
              <a:gd name="connsiteX6" fmla="*/ 0 w 7816645"/>
              <a:gd name="connsiteY6" fmla="*/ 5833872 h 5833872"/>
              <a:gd name="connsiteX7" fmla="*/ 0 w 7816645"/>
              <a:gd name="connsiteY7" fmla="*/ 0 h 5833872"/>
              <a:gd name="connsiteX8" fmla="*/ 0 w 7816645"/>
              <a:gd name="connsiteY8" fmla="*/ 0 h 5833872"/>
              <a:gd name="connsiteX0" fmla="*/ 0 w 7797040"/>
              <a:gd name="connsiteY0" fmla="*/ 0 h 5833872"/>
              <a:gd name="connsiteX1" fmla="*/ 7796213 w 7797040"/>
              <a:gd name="connsiteY1" fmla="*/ 0 h 5833872"/>
              <a:gd name="connsiteX2" fmla="*/ 7796213 w 7797040"/>
              <a:gd name="connsiteY2" fmla="*/ 0 h 5833872"/>
              <a:gd name="connsiteX3" fmla="*/ 6597445 w 7797040"/>
              <a:gd name="connsiteY3" fmla="*/ 1876388 h 5833872"/>
              <a:gd name="connsiteX4" fmla="*/ 7796981 w 7797040"/>
              <a:gd name="connsiteY4" fmla="*/ 3665859 h 5833872"/>
              <a:gd name="connsiteX5" fmla="*/ 7796213 w 7797040"/>
              <a:gd name="connsiteY5" fmla="*/ 5833872 h 5833872"/>
              <a:gd name="connsiteX6" fmla="*/ 0 w 7797040"/>
              <a:gd name="connsiteY6" fmla="*/ 5833872 h 5833872"/>
              <a:gd name="connsiteX7" fmla="*/ 0 w 7797040"/>
              <a:gd name="connsiteY7" fmla="*/ 0 h 5833872"/>
              <a:gd name="connsiteX8" fmla="*/ 0 w 7797040"/>
              <a:gd name="connsiteY8" fmla="*/ 0 h 5833872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6597445 w 7796213"/>
              <a:gd name="connsiteY3" fmla="*/ 1876388 h 5833872"/>
              <a:gd name="connsiteX4" fmla="*/ 6154994 w 7796213"/>
              <a:gd name="connsiteY4" fmla="*/ 3901833 h 5833872"/>
              <a:gd name="connsiteX5" fmla="*/ 7796213 w 7796213"/>
              <a:gd name="connsiteY5" fmla="*/ 5833872 h 5833872"/>
              <a:gd name="connsiteX6" fmla="*/ 0 w 7796213"/>
              <a:gd name="connsiteY6" fmla="*/ 5833872 h 5833872"/>
              <a:gd name="connsiteX7" fmla="*/ 0 w 7796213"/>
              <a:gd name="connsiteY7" fmla="*/ 0 h 5833872"/>
              <a:gd name="connsiteX8" fmla="*/ 0 w 7796213"/>
              <a:gd name="connsiteY8" fmla="*/ 0 h 5833872"/>
              <a:gd name="connsiteX0" fmla="*/ 0 w 7796213"/>
              <a:gd name="connsiteY0" fmla="*/ 0 h 5853537"/>
              <a:gd name="connsiteX1" fmla="*/ 7796213 w 7796213"/>
              <a:gd name="connsiteY1" fmla="*/ 0 h 5853537"/>
              <a:gd name="connsiteX2" fmla="*/ 7796213 w 7796213"/>
              <a:gd name="connsiteY2" fmla="*/ 0 h 5853537"/>
              <a:gd name="connsiteX3" fmla="*/ 6597445 w 7796213"/>
              <a:gd name="connsiteY3" fmla="*/ 1876388 h 5853537"/>
              <a:gd name="connsiteX4" fmla="*/ 6154994 w 7796213"/>
              <a:gd name="connsiteY4" fmla="*/ 3901833 h 5853537"/>
              <a:gd name="connsiteX5" fmla="*/ 6429529 w 7796213"/>
              <a:gd name="connsiteY5" fmla="*/ 5853537 h 5853537"/>
              <a:gd name="connsiteX6" fmla="*/ 0 w 7796213"/>
              <a:gd name="connsiteY6" fmla="*/ 5833872 h 5853537"/>
              <a:gd name="connsiteX7" fmla="*/ 0 w 7796213"/>
              <a:gd name="connsiteY7" fmla="*/ 0 h 5853537"/>
              <a:gd name="connsiteX8" fmla="*/ 0 w 7796213"/>
              <a:gd name="connsiteY8" fmla="*/ 0 h 5853537"/>
              <a:gd name="connsiteX0" fmla="*/ 0 w 7796213"/>
              <a:gd name="connsiteY0" fmla="*/ 0 h 5843705"/>
              <a:gd name="connsiteX1" fmla="*/ 7796213 w 7796213"/>
              <a:gd name="connsiteY1" fmla="*/ 0 h 5843705"/>
              <a:gd name="connsiteX2" fmla="*/ 7796213 w 7796213"/>
              <a:gd name="connsiteY2" fmla="*/ 0 h 5843705"/>
              <a:gd name="connsiteX3" fmla="*/ 6597445 w 7796213"/>
              <a:gd name="connsiteY3" fmla="*/ 1876388 h 5843705"/>
              <a:gd name="connsiteX4" fmla="*/ 6154994 w 7796213"/>
              <a:gd name="connsiteY4" fmla="*/ 3901833 h 5843705"/>
              <a:gd name="connsiteX5" fmla="*/ 6311542 w 7796213"/>
              <a:gd name="connsiteY5" fmla="*/ 5843705 h 5843705"/>
              <a:gd name="connsiteX6" fmla="*/ 0 w 7796213"/>
              <a:gd name="connsiteY6" fmla="*/ 5833872 h 5843705"/>
              <a:gd name="connsiteX7" fmla="*/ 0 w 7796213"/>
              <a:gd name="connsiteY7" fmla="*/ 0 h 5843705"/>
              <a:gd name="connsiteX8" fmla="*/ 0 w 7796213"/>
              <a:gd name="connsiteY8" fmla="*/ 0 h 5843705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6597445 w 7796213"/>
              <a:gd name="connsiteY3" fmla="*/ 1876388 h 5833872"/>
              <a:gd name="connsiteX4" fmla="*/ 6154994 w 7796213"/>
              <a:gd name="connsiteY4" fmla="*/ 3901833 h 5833872"/>
              <a:gd name="connsiteX5" fmla="*/ 6380368 w 7796213"/>
              <a:gd name="connsiteY5" fmla="*/ 5824041 h 5833872"/>
              <a:gd name="connsiteX6" fmla="*/ 0 w 7796213"/>
              <a:gd name="connsiteY6" fmla="*/ 5833872 h 5833872"/>
              <a:gd name="connsiteX7" fmla="*/ 0 w 7796213"/>
              <a:gd name="connsiteY7" fmla="*/ 0 h 5833872"/>
              <a:gd name="connsiteX8" fmla="*/ 0 w 7796213"/>
              <a:gd name="connsiteY8" fmla="*/ 0 h 5833872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6597445 w 7796213"/>
              <a:gd name="connsiteY3" fmla="*/ 1876388 h 5833872"/>
              <a:gd name="connsiteX4" fmla="*/ 6154994 w 7796213"/>
              <a:gd name="connsiteY4" fmla="*/ 3901833 h 5833872"/>
              <a:gd name="connsiteX5" fmla="*/ 6380368 w 7796213"/>
              <a:gd name="connsiteY5" fmla="*/ 5824041 h 5833872"/>
              <a:gd name="connsiteX6" fmla="*/ 0 w 7796213"/>
              <a:gd name="connsiteY6" fmla="*/ 5833872 h 5833872"/>
              <a:gd name="connsiteX7" fmla="*/ 0 w 7796213"/>
              <a:gd name="connsiteY7" fmla="*/ 0 h 5833872"/>
              <a:gd name="connsiteX8" fmla="*/ 0 w 7796213"/>
              <a:gd name="connsiteY8" fmla="*/ 0 h 5833872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6597445 w 7796213"/>
              <a:gd name="connsiteY3" fmla="*/ 1876388 h 5833872"/>
              <a:gd name="connsiteX4" fmla="*/ 6853084 w 7796213"/>
              <a:gd name="connsiteY4" fmla="*/ 3528207 h 5833872"/>
              <a:gd name="connsiteX5" fmla="*/ 6380368 w 7796213"/>
              <a:gd name="connsiteY5" fmla="*/ 5824041 h 5833872"/>
              <a:gd name="connsiteX6" fmla="*/ 0 w 7796213"/>
              <a:gd name="connsiteY6" fmla="*/ 5833872 h 5833872"/>
              <a:gd name="connsiteX7" fmla="*/ 0 w 7796213"/>
              <a:gd name="connsiteY7" fmla="*/ 0 h 5833872"/>
              <a:gd name="connsiteX8" fmla="*/ 0 w 7796213"/>
              <a:gd name="connsiteY8" fmla="*/ 0 h 5833872"/>
              <a:gd name="connsiteX0" fmla="*/ 0 w 7796213"/>
              <a:gd name="connsiteY0" fmla="*/ 19664 h 5853536"/>
              <a:gd name="connsiteX1" fmla="*/ 7796213 w 7796213"/>
              <a:gd name="connsiteY1" fmla="*/ 19664 h 5853536"/>
              <a:gd name="connsiteX2" fmla="*/ 7442251 w 7796213"/>
              <a:gd name="connsiteY2" fmla="*/ 0 h 5853536"/>
              <a:gd name="connsiteX3" fmla="*/ 6597445 w 7796213"/>
              <a:gd name="connsiteY3" fmla="*/ 1896052 h 5853536"/>
              <a:gd name="connsiteX4" fmla="*/ 6853084 w 7796213"/>
              <a:gd name="connsiteY4" fmla="*/ 3547871 h 5853536"/>
              <a:gd name="connsiteX5" fmla="*/ 6380368 w 7796213"/>
              <a:gd name="connsiteY5" fmla="*/ 5843705 h 5853536"/>
              <a:gd name="connsiteX6" fmla="*/ 0 w 7796213"/>
              <a:gd name="connsiteY6" fmla="*/ 5853536 h 5853536"/>
              <a:gd name="connsiteX7" fmla="*/ 0 w 7796213"/>
              <a:gd name="connsiteY7" fmla="*/ 19664 h 5853536"/>
              <a:gd name="connsiteX8" fmla="*/ 0 w 7796213"/>
              <a:gd name="connsiteY8" fmla="*/ 19664 h 5853536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6597445 w 7796213"/>
              <a:gd name="connsiteY2" fmla="*/ 1876388 h 5833872"/>
              <a:gd name="connsiteX3" fmla="*/ 6853084 w 7796213"/>
              <a:gd name="connsiteY3" fmla="*/ 3528207 h 5833872"/>
              <a:gd name="connsiteX4" fmla="*/ 6380368 w 7796213"/>
              <a:gd name="connsiteY4" fmla="*/ 5824041 h 5833872"/>
              <a:gd name="connsiteX5" fmla="*/ 0 w 7796213"/>
              <a:gd name="connsiteY5" fmla="*/ 5833872 h 5833872"/>
              <a:gd name="connsiteX6" fmla="*/ 0 w 7796213"/>
              <a:gd name="connsiteY6" fmla="*/ 0 h 5833872"/>
              <a:gd name="connsiteX7" fmla="*/ 0 w 7796213"/>
              <a:gd name="connsiteY7" fmla="*/ 0 h 5833872"/>
              <a:gd name="connsiteX0" fmla="*/ 0 w 7432419"/>
              <a:gd name="connsiteY0" fmla="*/ 19664 h 5853536"/>
              <a:gd name="connsiteX1" fmla="*/ 7432419 w 7432419"/>
              <a:gd name="connsiteY1" fmla="*/ 0 h 5853536"/>
              <a:gd name="connsiteX2" fmla="*/ 6597445 w 7432419"/>
              <a:gd name="connsiteY2" fmla="*/ 1896052 h 5853536"/>
              <a:gd name="connsiteX3" fmla="*/ 6853084 w 7432419"/>
              <a:gd name="connsiteY3" fmla="*/ 3547871 h 5853536"/>
              <a:gd name="connsiteX4" fmla="*/ 6380368 w 7432419"/>
              <a:gd name="connsiteY4" fmla="*/ 5843705 h 5853536"/>
              <a:gd name="connsiteX5" fmla="*/ 0 w 7432419"/>
              <a:gd name="connsiteY5" fmla="*/ 5853536 h 5853536"/>
              <a:gd name="connsiteX6" fmla="*/ 0 w 7432419"/>
              <a:gd name="connsiteY6" fmla="*/ 19664 h 5853536"/>
              <a:gd name="connsiteX7" fmla="*/ 0 w 7432419"/>
              <a:gd name="connsiteY7" fmla="*/ 19664 h 5853536"/>
              <a:gd name="connsiteX0" fmla="*/ 0 w 7393090"/>
              <a:gd name="connsiteY0" fmla="*/ 19664 h 5853536"/>
              <a:gd name="connsiteX1" fmla="*/ 7393090 w 7393090"/>
              <a:gd name="connsiteY1" fmla="*/ 0 h 5853536"/>
              <a:gd name="connsiteX2" fmla="*/ 6597445 w 7393090"/>
              <a:gd name="connsiteY2" fmla="*/ 1896052 h 5853536"/>
              <a:gd name="connsiteX3" fmla="*/ 6853084 w 7393090"/>
              <a:gd name="connsiteY3" fmla="*/ 3547871 h 5853536"/>
              <a:gd name="connsiteX4" fmla="*/ 6380368 w 7393090"/>
              <a:gd name="connsiteY4" fmla="*/ 5843705 h 5853536"/>
              <a:gd name="connsiteX5" fmla="*/ 0 w 7393090"/>
              <a:gd name="connsiteY5" fmla="*/ 5853536 h 5853536"/>
              <a:gd name="connsiteX6" fmla="*/ 0 w 7393090"/>
              <a:gd name="connsiteY6" fmla="*/ 19664 h 5853536"/>
              <a:gd name="connsiteX7" fmla="*/ 0 w 7393090"/>
              <a:gd name="connsiteY7" fmla="*/ 19664 h 5853536"/>
              <a:gd name="connsiteX0" fmla="*/ 0 w 7393090"/>
              <a:gd name="connsiteY0" fmla="*/ 19664 h 5853536"/>
              <a:gd name="connsiteX1" fmla="*/ 7393090 w 7393090"/>
              <a:gd name="connsiteY1" fmla="*/ 0 h 5853536"/>
              <a:gd name="connsiteX2" fmla="*/ 6853084 w 7393090"/>
              <a:gd name="connsiteY2" fmla="*/ 3547871 h 5853536"/>
              <a:gd name="connsiteX3" fmla="*/ 6380368 w 7393090"/>
              <a:gd name="connsiteY3" fmla="*/ 5843705 h 5853536"/>
              <a:gd name="connsiteX4" fmla="*/ 0 w 7393090"/>
              <a:gd name="connsiteY4" fmla="*/ 5853536 h 5853536"/>
              <a:gd name="connsiteX5" fmla="*/ 0 w 7393090"/>
              <a:gd name="connsiteY5" fmla="*/ 19664 h 5853536"/>
              <a:gd name="connsiteX6" fmla="*/ 0 w 7393090"/>
              <a:gd name="connsiteY6" fmla="*/ 19664 h 5853536"/>
              <a:gd name="connsiteX0" fmla="*/ 0 w 7393090"/>
              <a:gd name="connsiteY0" fmla="*/ 19664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380368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19664 h 5863435"/>
              <a:gd name="connsiteX6" fmla="*/ 0 w 7393090"/>
              <a:gd name="connsiteY6" fmla="*/ 19664 h 5863435"/>
              <a:gd name="connsiteX0" fmla="*/ 0 w 7402923"/>
              <a:gd name="connsiteY0" fmla="*/ 0 h 5883233"/>
              <a:gd name="connsiteX1" fmla="*/ 7402923 w 7402923"/>
              <a:gd name="connsiteY1" fmla="*/ 19798 h 5883233"/>
              <a:gd name="connsiteX2" fmla="*/ 6862917 w 7402923"/>
              <a:gd name="connsiteY2" fmla="*/ 3567669 h 5883233"/>
              <a:gd name="connsiteX3" fmla="*/ 6390201 w 7402923"/>
              <a:gd name="connsiteY3" fmla="*/ 5883233 h 5883233"/>
              <a:gd name="connsiteX4" fmla="*/ 9833 w 7402923"/>
              <a:gd name="connsiteY4" fmla="*/ 5873334 h 5883233"/>
              <a:gd name="connsiteX5" fmla="*/ 9833 w 7402923"/>
              <a:gd name="connsiteY5" fmla="*/ 39462 h 5883233"/>
              <a:gd name="connsiteX6" fmla="*/ 0 w 7402923"/>
              <a:gd name="connsiteY6" fmla="*/ 0 h 5883233"/>
              <a:gd name="connsiteX0" fmla="*/ 0 w 7393090"/>
              <a:gd name="connsiteY0" fmla="*/ 19664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380368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19664 h 5863435"/>
              <a:gd name="connsiteX0" fmla="*/ 0 w 7393090"/>
              <a:gd name="connsiteY0" fmla="*/ 0 h 5883233"/>
              <a:gd name="connsiteX1" fmla="*/ 7393090 w 7393090"/>
              <a:gd name="connsiteY1" fmla="*/ 19798 h 5883233"/>
              <a:gd name="connsiteX2" fmla="*/ 6853084 w 7393090"/>
              <a:gd name="connsiteY2" fmla="*/ 3567669 h 5883233"/>
              <a:gd name="connsiteX3" fmla="*/ 6380368 w 7393090"/>
              <a:gd name="connsiteY3" fmla="*/ 5883233 h 5883233"/>
              <a:gd name="connsiteX4" fmla="*/ 0 w 7393090"/>
              <a:gd name="connsiteY4" fmla="*/ 5873334 h 5883233"/>
              <a:gd name="connsiteX5" fmla="*/ 0 w 7393090"/>
              <a:gd name="connsiteY5" fmla="*/ 0 h 5883233"/>
              <a:gd name="connsiteX0" fmla="*/ 29497 w 7393090"/>
              <a:gd name="connsiteY0" fmla="*/ 29530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380368 w 7393090"/>
              <a:gd name="connsiteY3" fmla="*/ 5863435 h 5863435"/>
              <a:gd name="connsiteX4" fmla="*/ 0 w 7393090"/>
              <a:gd name="connsiteY4" fmla="*/ 5853536 h 5863435"/>
              <a:gd name="connsiteX5" fmla="*/ 29497 w 7393090"/>
              <a:gd name="connsiteY5" fmla="*/ 29530 h 5863435"/>
              <a:gd name="connsiteX0" fmla="*/ 0 w 7393090"/>
              <a:gd name="connsiteY0" fmla="*/ 9799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380368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9799 h 5863435"/>
              <a:gd name="connsiteX0" fmla="*/ 0 w 7393090"/>
              <a:gd name="connsiteY0" fmla="*/ 9799 h 5873301"/>
              <a:gd name="connsiteX1" fmla="*/ 7393090 w 7393090"/>
              <a:gd name="connsiteY1" fmla="*/ 0 h 5873301"/>
              <a:gd name="connsiteX2" fmla="*/ 6853084 w 7393090"/>
              <a:gd name="connsiteY2" fmla="*/ 3547871 h 5873301"/>
              <a:gd name="connsiteX3" fmla="*/ 6380368 w 7393090"/>
              <a:gd name="connsiteY3" fmla="*/ 5873301 h 5873301"/>
              <a:gd name="connsiteX4" fmla="*/ 0 w 7393090"/>
              <a:gd name="connsiteY4" fmla="*/ 5853536 h 5873301"/>
              <a:gd name="connsiteX5" fmla="*/ 0 w 7393090"/>
              <a:gd name="connsiteY5" fmla="*/ 9799 h 5873301"/>
              <a:gd name="connsiteX0" fmla="*/ 0 w 7393090"/>
              <a:gd name="connsiteY0" fmla="*/ 9799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400033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9799 h 5863435"/>
              <a:gd name="connsiteX0" fmla="*/ 0 w 7393090"/>
              <a:gd name="connsiteY0" fmla="*/ 9799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400033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9799 h 5863435"/>
              <a:gd name="connsiteX0" fmla="*/ 0 w 7393090"/>
              <a:gd name="connsiteY0" fmla="*/ 9799 h 5863435"/>
              <a:gd name="connsiteX1" fmla="*/ 7393090 w 7393090"/>
              <a:gd name="connsiteY1" fmla="*/ 0 h 5863435"/>
              <a:gd name="connsiteX2" fmla="*/ 6892413 w 7393090"/>
              <a:gd name="connsiteY2" fmla="*/ 3538006 h 5863435"/>
              <a:gd name="connsiteX3" fmla="*/ 6400033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9799 h 5863435"/>
              <a:gd name="connsiteX0" fmla="*/ 0 w 7402922"/>
              <a:gd name="connsiteY0" fmla="*/ 0 h 5883233"/>
              <a:gd name="connsiteX1" fmla="*/ 7402922 w 7402922"/>
              <a:gd name="connsiteY1" fmla="*/ 19798 h 5883233"/>
              <a:gd name="connsiteX2" fmla="*/ 6902245 w 7402922"/>
              <a:gd name="connsiteY2" fmla="*/ 3557804 h 5883233"/>
              <a:gd name="connsiteX3" fmla="*/ 6409865 w 7402922"/>
              <a:gd name="connsiteY3" fmla="*/ 5883233 h 5883233"/>
              <a:gd name="connsiteX4" fmla="*/ 9832 w 7402922"/>
              <a:gd name="connsiteY4" fmla="*/ 5873334 h 5883233"/>
              <a:gd name="connsiteX5" fmla="*/ 0 w 7402922"/>
              <a:gd name="connsiteY5" fmla="*/ 0 h 5883233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902245 w 7402922"/>
              <a:gd name="connsiteY2" fmla="*/ 3538006 h 5863435"/>
              <a:gd name="connsiteX3" fmla="*/ 6409865 w 7402922"/>
              <a:gd name="connsiteY3" fmla="*/ 5863435 h 5863435"/>
              <a:gd name="connsiteX4" fmla="*/ 9832 w 7402922"/>
              <a:gd name="connsiteY4" fmla="*/ 5853536 h 5863435"/>
              <a:gd name="connsiteX5" fmla="*/ 0 w 7402922"/>
              <a:gd name="connsiteY5" fmla="*/ 3139 h 5863435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902245 w 7402922"/>
              <a:gd name="connsiteY2" fmla="*/ 3538006 h 5863435"/>
              <a:gd name="connsiteX3" fmla="*/ 6409865 w 7402922"/>
              <a:gd name="connsiteY3" fmla="*/ 5863435 h 5863435"/>
              <a:gd name="connsiteX4" fmla="*/ 9832 w 7402922"/>
              <a:gd name="connsiteY4" fmla="*/ 5863402 h 5863435"/>
              <a:gd name="connsiteX5" fmla="*/ 0 w 7402922"/>
              <a:gd name="connsiteY5" fmla="*/ 3139 h 5863435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833419 w 7402922"/>
              <a:gd name="connsiteY2" fmla="*/ 3597199 h 5863435"/>
              <a:gd name="connsiteX3" fmla="*/ 6409865 w 7402922"/>
              <a:gd name="connsiteY3" fmla="*/ 5863435 h 5863435"/>
              <a:gd name="connsiteX4" fmla="*/ 9832 w 7402922"/>
              <a:gd name="connsiteY4" fmla="*/ 5863402 h 5863435"/>
              <a:gd name="connsiteX5" fmla="*/ 0 w 7402922"/>
              <a:gd name="connsiteY5" fmla="*/ 3139 h 5863435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872748 w 7402922"/>
              <a:gd name="connsiteY2" fmla="*/ 3577469 h 5863435"/>
              <a:gd name="connsiteX3" fmla="*/ 6409865 w 7402922"/>
              <a:gd name="connsiteY3" fmla="*/ 5863435 h 5863435"/>
              <a:gd name="connsiteX4" fmla="*/ 9832 w 7402922"/>
              <a:gd name="connsiteY4" fmla="*/ 5863402 h 5863435"/>
              <a:gd name="connsiteX5" fmla="*/ 0 w 7402922"/>
              <a:gd name="connsiteY5" fmla="*/ 3139 h 5863435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872748 w 7402922"/>
              <a:gd name="connsiteY2" fmla="*/ 3577469 h 5863435"/>
              <a:gd name="connsiteX3" fmla="*/ 6409865 w 7402922"/>
              <a:gd name="connsiteY3" fmla="*/ 5863435 h 5863435"/>
              <a:gd name="connsiteX4" fmla="*/ 9832 w 7402922"/>
              <a:gd name="connsiteY4" fmla="*/ 5863402 h 5863435"/>
              <a:gd name="connsiteX5" fmla="*/ 0 w 7402922"/>
              <a:gd name="connsiteY5" fmla="*/ 3139 h 5863435"/>
              <a:gd name="connsiteX0" fmla="*/ 0 w 7390890"/>
              <a:gd name="connsiteY0" fmla="*/ 3139 h 5863435"/>
              <a:gd name="connsiteX1" fmla="*/ 7390890 w 7390890"/>
              <a:gd name="connsiteY1" fmla="*/ 0 h 5863435"/>
              <a:gd name="connsiteX2" fmla="*/ 6872748 w 7390890"/>
              <a:gd name="connsiteY2" fmla="*/ 3577469 h 5863435"/>
              <a:gd name="connsiteX3" fmla="*/ 6409865 w 7390890"/>
              <a:gd name="connsiteY3" fmla="*/ 5863435 h 5863435"/>
              <a:gd name="connsiteX4" fmla="*/ 9832 w 7390890"/>
              <a:gd name="connsiteY4" fmla="*/ 5863402 h 5863435"/>
              <a:gd name="connsiteX5" fmla="*/ 0 w 7390890"/>
              <a:gd name="connsiteY5" fmla="*/ 3139 h 5863435"/>
              <a:gd name="connsiteX0" fmla="*/ 0 w 7390890"/>
              <a:gd name="connsiteY0" fmla="*/ 0 h 5860296"/>
              <a:gd name="connsiteX1" fmla="*/ 7390890 w 7390890"/>
              <a:gd name="connsiteY1" fmla="*/ 8934 h 5860296"/>
              <a:gd name="connsiteX2" fmla="*/ 6872748 w 7390890"/>
              <a:gd name="connsiteY2" fmla="*/ 3574330 h 5860296"/>
              <a:gd name="connsiteX3" fmla="*/ 6409865 w 7390890"/>
              <a:gd name="connsiteY3" fmla="*/ 5860296 h 5860296"/>
              <a:gd name="connsiteX4" fmla="*/ 9832 w 7390890"/>
              <a:gd name="connsiteY4" fmla="*/ 5860263 h 5860296"/>
              <a:gd name="connsiteX5" fmla="*/ 0 w 7390890"/>
              <a:gd name="connsiteY5" fmla="*/ 0 h 5860296"/>
              <a:gd name="connsiteX0" fmla="*/ 2948 w 7381806"/>
              <a:gd name="connsiteY0" fmla="*/ 0 h 5860296"/>
              <a:gd name="connsiteX1" fmla="*/ 7381806 w 7381806"/>
              <a:gd name="connsiteY1" fmla="*/ 8934 h 5860296"/>
              <a:gd name="connsiteX2" fmla="*/ 6863664 w 7381806"/>
              <a:gd name="connsiteY2" fmla="*/ 3574330 h 5860296"/>
              <a:gd name="connsiteX3" fmla="*/ 6400781 w 7381806"/>
              <a:gd name="connsiteY3" fmla="*/ 5860296 h 5860296"/>
              <a:gd name="connsiteX4" fmla="*/ 748 w 7381806"/>
              <a:gd name="connsiteY4" fmla="*/ 5860263 h 5860296"/>
              <a:gd name="connsiteX5" fmla="*/ 2948 w 7381806"/>
              <a:gd name="connsiteY5" fmla="*/ 0 h 5860296"/>
              <a:gd name="connsiteX0" fmla="*/ 0 w 7388383"/>
              <a:gd name="connsiteY0" fmla="*/ 604 h 5851362"/>
              <a:gd name="connsiteX1" fmla="*/ 7388383 w 7388383"/>
              <a:gd name="connsiteY1" fmla="*/ 0 h 5851362"/>
              <a:gd name="connsiteX2" fmla="*/ 6870241 w 7388383"/>
              <a:gd name="connsiteY2" fmla="*/ 3565396 h 5851362"/>
              <a:gd name="connsiteX3" fmla="*/ 6407358 w 7388383"/>
              <a:gd name="connsiteY3" fmla="*/ 5851362 h 5851362"/>
              <a:gd name="connsiteX4" fmla="*/ 7325 w 7388383"/>
              <a:gd name="connsiteY4" fmla="*/ 5851329 h 5851362"/>
              <a:gd name="connsiteX5" fmla="*/ 0 w 7388383"/>
              <a:gd name="connsiteY5" fmla="*/ 604 h 5851362"/>
              <a:gd name="connsiteX0" fmla="*/ 12121 w 7381454"/>
              <a:gd name="connsiteY0" fmla="*/ 604 h 5851362"/>
              <a:gd name="connsiteX1" fmla="*/ 7381454 w 7381454"/>
              <a:gd name="connsiteY1" fmla="*/ 0 h 5851362"/>
              <a:gd name="connsiteX2" fmla="*/ 6863312 w 7381454"/>
              <a:gd name="connsiteY2" fmla="*/ 3565396 h 5851362"/>
              <a:gd name="connsiteX3" fmla="*/ 6400429 w 7381454"/>
              <a:gd name="connsiteY3" fmla="*/ 5851362 h 5851362"/>
              <a:gd name="connsiteX4" fmla="*/ 396 w 7381454"/>
              <a:gd name="connsiteY4" fmla="*/ 5851329 h 5851362"/>
              <a:gd name="connsiteX5" fmla="*/ 12121 w 7381454"/>
              <a:gd name="connsiteY5" fmla="*/ 604 h 5851362"/>
              <a:gd name="connsiteX0" fmla="*/ 12121 w 7381454"/>
              <a:gd name="connsiteY0" fmla="*/ 0 h 5850758"/>
              <a:gd name="connsiteX1" fmla="*/ 7381454 w 7381454"/>
              <a:gd name="connsiteY1" fmla="*/ 8934 h 5850758"/>
              <a:gd name="connsiteX2" fmla="*/ 6863312 w 7381454"/>
              <a:gd name="connsiteY2" fmla="*/ 3564792 h 5850758"/>
              <a:gd name="connsiteX3" fmla="*/ 6400429 w 7381454"/>
              <a:gd name="connsiteY3" fmla="*/ 5850758 h 5850758"/>
              <a:gd name="connsiteX4" fmla="*/ 396 w 7381454"/>
              <a:gd name="connsiteY4" fmla="*/ 5850725 h 5850758"/>
              <a:gd name="connsiteX5" fmla="*/ 12121 w 7381454"/>
              <a:gd name="connsiteY5" fmla="*/ 0 h 5850758"/>
              <a:gd name="connsiteX0" fmla="*/ 12121 w 7381454"/>
              <a:gd name="connsiteY0" fmla="*/ 604 h 5841824"/>
              <a:gd name="connsiteX1" fmla="*/ 7381454 w 7381454"/>
              <a:gd name="connsiteY1" fmla="*/ 0 h 5841824"/>
              <a:gd name="connsiteX2" fmla="*/ 6863312 w 7381454"/>
              <a:gd name="connsiteY2" fmla="*/ 3555858 h 5841824"/>
              <a:gd name="connsiteX3" fmla="*/ 6400429 w 7381454"/>
              <a:gd name="connsiteY3" fmla="*/ 5841824 h 5841824"/>
              <a:gd name="connsiteX4" fmla="*/ 396 w 7381454"/>
              <a:gd name="connsiteY4" fmla="*/ 5841791 h 5841824"/>
              <a:gd name="connsiteX5" fmla="*/ 12121 w 7381454"/>
              <a:gd name="connsiteY5" fmla="*/ 604 h 5841824"/>
              <a:gd name="connsiteX0" fmla="*/ 12121 w 7381454"/>
              <a:gd name="connsiteY0" fmla="*/ 604 h 5841824"/>
              <a:gd name="connsiteX1" fmla="*/ 7381454 w 7381454"/>
              <a:gd name="connsiteY1" fmla="*/ 0 h 5841824"/>
              <a:gd name="connsiteX2" fmla="*/ 6863312 w 7381454"/>
              <a:gd name="connsiteY2" fmla="*/ 3555858 h 5841824"/>
              <a:gd name="connsiteX3" fmla="*/ 6400429 w 7381454"/>
              <a:gd name="connsiteY3" fmla="*/ 5841824 h 5841824"/>
              <a:gd name="connsiteX4" fmla="*/ 396 w 7381454"/>
              <a:gd name="connsiteY4" fmla="*/ 5841791 h 5841824"/>
              <a:gd name="connsiteX5" fmla="*/ 12121 w 7381454"/>
              <a:gd name="connsiteY5" fmla="*/ 604 h 5841824"/>
              <a:gd name="connsiteX0" fmla="*/ 12121 w 7381454"/>
              <a:gd name="connsiteY0" fmla="*/ 604 h 5841824"/>
              <a:gd name="connsiteX1" fmla="*/ 7381454 w 7381454"/>
              <a:gd name="connsiteY1" fmla="*/ 0 h 5841824"/>
              <a:gd name="connsiteX2" fmla="*/ 6863312 w 7381454"/>
              <a:gd name="connsiteY2" fmla="*/ 3555858 h 5841824"/>
              <a:gd name="connsiteX3" fmla="*/ 6400429 w 7381454"/>
              <a:gd name="connsiteY3" fmla="*/ 5841824 h 5841824"/>
              <a:gd name="connsiteX4" fmla="*/ 396 w 7381454"/>
              <a:gd name="connsiteY4" fmla="*/ 5841791 h 5841824"/>
              <a:gd name="connsiteX5" fmla="*/ 12121 w 7381454"/>
              <a:gd name="connsiteY5" fmla="*/ 604 h 5841824"/>
              <a:gd name="connsiteX0" fmla="*/ 12121 w 7381454"/>
              <a:gd name="connsiteY0" fmla="*/ 0 h 5841220"/>
              <a:gd name="connsiteX1" fmla="*/ 7381454 w 7381454"/>
              <a:gd name="connsiteY1" fmla="*/ 9429 h 5841220"/>
              <a:gd name="connsiteX2" fmla="*/ 6863312 w 7381454"/>
              <a:gd name="connsiteY2" fmla="*/ 3555254 h 5841220"/>
              <a:gd name="connsiteX3" fmla="*/ 6400429 w 7381454"/>
              <a:gd name="connsiteY3" fmla="*/ 5841220 h 5841220"/>
              <a:gd name="connsiteX4" fmla="*/ 396 w 7381454"/>
              <a:gd name="connsiteY4" fmla="*/ 5841187 h 5841220"/>
              <a:gd name="connsiteX5" fmla="*/ 12121 w 7381454"/>
              <a:gd name="connsiteY5" fmla="*/ 0 h 5841220"/>
              <a:gd name="connsiteX0" fmla="*/ 17066 w 7381375"/>
              <a:gd name="connsiteY0" fmla="*/ 0 h 5836204"/>
              <a:gd name="connsiteX1" fmla="*/ 7381375 w 7381375"/>
              <a:gd name="connsiteY1" fmla="*/ 4413 h 5836204"/>
              <a:gd name="connsiteX2" fmla="*/ 6863233 w 7381375"/>
              <a:gd name="connsiteY2" fmla="*/ 3550238 h 5836204"/>
              <a:gd name="connsiteX3" fmla="*/ 6400350 w 7381375"/>
              <a:gd name="connsiteY3" fmla="*/ 5836204 h 5836204"/>
              <a:gd name="connsiteX4" fmla="*/ 317 w 7381375"/>
              <a:gd name="connsiteY4" fmla="*/ 5836171 h 5836204"/>
              <a:gd name="connsiteX5" fmla="*/ 17066 w 7381375"/>
              <a:gd name="connsiteY5" fmla="*/ 0 h 5836204"/>
              <a:gd name="connsiteX0" fmla="*/ 17066 w 7381375"/>
              <a:gd name="connsiteY0" fmla="*/ 0 h 5836204"/>
              <a:gd name="connsiteX1" fmla="*/ 7381375 w 7381375"/>
              <a:gd name="connsiteY1" fmla="*/ 4413 h 5836204"/>
              <a:gd name="connsiteX2" fmla="*/ 6863233 w 7381375"/>
              <a:gd name="connsiteY2" fmla="*/ 3550238 h 5836204"/>
              <a:gd name="connsiteX3" fmla="*/ 6400350 w 7381375"/>
              <a:gd name="connsiteY3" fmla="*/ 5836204 h 5836204"/>
              <a:gd name="connsiteX4" fmla="*/ 317 w 7381375"/>
              <a:gd name="connsiteY4" fmla="*/ 5836171 h 5836204"/>
              <a:gd name="connsiteX5" fmla="*/ 17066 w 7381375"/>
              <a:gd name="connsiteY5" fmla="*/ 0 h 5836204"/>
              <a:gd name="connsiteX0" fmla="*/ 17066 w 7387352"/>
              <a:gd name="connsiteY0" fmla="*/ 0 h 5836204"/>
              <a:gd name="connsiteX1" fmla="*/ 7387352 w 7387352"/>
              <a:gd name="connsiteY1" fmla="*/ 4413 h 5836204"/>
              <a:gd name="connsiteX2" fmla="*/ 6863233 w 7387352"/>
              <a:gd name="connsiteY2" fmla="*/ 3550238 h 5836204"/>
              <a:gd name="connsiteX3" fmla="*/ 6400350 w 7387352"/>
              <a:gd name="connsiteY3" fmla="*/ 5836204 h 5836204"/>
              <a:gd name="connsiteX4" fmla="*/ 317 w 7387352"/>
              <a:gd name="connsiteY4" fmla="*/ 5836171 h 5836204"/>
              <a:gd name="connsiteX5" fmla="*/ 17066 w 7387352"/>
              <a:gd name="connsiteY5" fmla="*/ 0 h 5836204"/>
              <a:gd name="connsiteX0" fmla="*/ 17066 w 7387352"/>
              <a:gd name="connsiteY0" fmla="*/ 1566 h 5837770"/>
              <a:gd name="connsiteX1" fmla="*/ 7387352 w 7387352"/>
              <a:gd name="connsiteY1" fmla="*/ 0 h 5837770"/>
              <a:gd name="connsiteX2" fmla="*/ 6863233 w 7387352"/>
              <a:gd name="connsiteY2" fmla="*/ 3551804 h 5837770"/>
              <a:gd name="connsiteX3" fmla="*/ 6400350 w 7387352"/>
              <a:gd name="connsiteY3" fmla="*/ 5837770 h 5837770"/>
              <a:gd name="connsiteX4" fmla="*/ 317 w 7387352"/>
              <a:gd name="connsiteY4" fmla="*/ 5837737 h 5837770"/>
              <a:gd name="connsiteX5" fmla="*/ 17066 w 7387352"/>
              <a:gd name="connsiteY5" fmla="*/ 1566 h 5837770"/>
              <a:gd name="connsiteX0" fmla="*/ 17066 w 7387352"/>
              <a:gd name="connsiteY0" fmla="*/ 1566 h 5837770"/>
              <a:gd name="connsiteX1" fmla="*/ 7387352 w 7387352"/>
              <a:gd name="connsiteY1" fmla="*/ 0 h 5837770"/>
              <a:gd name="connsiteX2" fmla="*/ 6863233 w 7387352"/>
              <a:gd name="connsiteY2" fmla="*/ 3551804 h 5837770"/>
              <a:gd name="connsiteX3" fmla="*/ 6400350 w 7387352"/>
              <a:gd name="connsiteY3" fmla="*/ 5837770 h 5837770"/>
              <a:gd name="connsiteX4" fmla="*/ 317 w 7387352"/>
              <a:gd name="connsiteY4" fmla="*/ 5837737 h 5837770"/>
              <a:gd name="connsiteX5" fmla="*/ 17066 w 7387352"/>
              <a:gd name="connsiteY5" fmla="*/ 1566 h 5837770"/>
              <a:gd name="connsiteX0" fmla="*/ 8189 w 7387528"/>
              <a:gd name="connsiteY0" fmla="*/ 19583 h 5837770"/>
              <a:gd name="connsiteX1" fmla="*/ 7387528 w 7387528"/>
              <a:gd name="connsiteY1" fmla="*/ 0 h 5837770"/>
              <a:gd name="connsiteX2" fmla="*/ 6863409 w 7387528"/>
              <a:gd name="connsiteY2" fmla="*/ 3551804 h 5837770"/>
              <a:gd name="connsiteX3" fmla="*/ 6400526 w 7387528"/>
              <a:gd name="connsiteY3" fmla="*/ 5837770 h 5837770"/>
              <a:gd name="connsiteX4" fmla="*/ 493 w 7387528"/>
              <a:gd name="connsiteY4" fmla="*/ 5837737 h 5837770"/>
              <a:gd name="connsiteX5" fmla="*/ 8189 w 7387528"/>
              <a:gd name="connsiteY5" fmla="*/ 19583 h 5837770"/>
              <a:gd name="connsiteX0" fmla="*/ 0 w 7388393"/>
              <a:gd name="connsiteY0" fmla="*/ 10575 h 5837770"/>
              <a:gd name="connsiteX1" fmla="*/ 7388393 w 7388393"/>
              <a:gd name="connsiteY1" fmla="*/ 0 h 5837770"/>
              <a:gd name="connsiteX2" fmla="*/ 6864274 w 7388393"/>
              <a:gd name="connsiteY2" fmla="*/ 3551804 h 5837770"/>
              <a:gd name="connsiteX3" fmla="*/ 6401391 w 7388393"/>
              <a:gd name="connsiteY3" fmla="*/ 5837770 h 5837770"/>
              <a:gd name="connsiteX4" fmla="*/ 1358 w 7388393"/>
              <a:gd name="connsiteY4" fmla="*/ 5837737 h 5837770"/>
              <a:gd name="connsiteX5" fmla="*/ 0 w 7388393"/>
              <a:gd name="connsiteY5" fmla="*/ 10575 h 5837770"/>
              <a:gd name="connsiteX0" fmla="*/ 0 w 7388393"/>
              <a:gd name="connsiteY0" fmla="*/ 1566 h 5837770"/>
              <a:gd name="connsiteX1" fmla="*/ 7388393 w 7388393"/>
              <a:gd name="connsiteY1" fmla="*/ 0 h 5837770"/>
              <a:gd name="connsiteX2" fmla="*/ 6864274 w 7388393"/>
              <a:gd name="connsiteY2" fmla="*/ 3551804 h 5837770"/>
              <a:gd name="connsiteX3" fmla="*/ 6401391 w 7388393"/>
              <a:gd name="connsiteY3" fmla="*/ 5837770 h 5837770"/>
              <a:gd name="connsiteX4" fmla="*/ 1358 w 7388393"/>
              <a:gd name="connsiteY4" fmla="*/ 5837737 h 5837770"/>
              <a:gd name="connsiteX5" fmla="*/ 0 w 7388393"/>
              <a:gd name="connsiteY5" fmla="*/ 1566 h 5837770"/>
              <a:gd name="connsiteX0" fmla="*/ 8190 w 7387529"/>
              <a:gd name="connsiteY0" fmla="*/ 1566 h 5837770"/>
              <a:gd name="connsiteX1" fmla="*/ 7387529 w 7387529"/>
              <a:gd name="connsiteY1" fmla="*/ 0 h 5837770"/>
              <a:gd name="connsiteX2" fmla="*/ 6863410 w 7387529"/>
              <a:gd name="connsiteY2" fmla="*/ 3551804 h 5837770"/>
              <a:gd name="connsiteX3" fmla="*/ 6400527 w 7387529"/>
              <a:gd name="connsiteY3" fmla="*/ 5837770 h 5837770"/>
              <a:gd name="connsiteX4" fmla="*/ 494 w 7387529"/>
              <a:gd name="connsiteY4" fmla="*/ 5837737 h 5837770"/>
              <a:gd name="connsiteX5" fmla="*/ 8190 w 7387529"/>
              <a:gd name="connsiteY5" fmla="*/ 1566 h 5837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87529" h="5837770">
                <a:moveTo>
                  <a:pt x="8190" y="1566"/>
                </a:moveTo>
                <a:lnTo>
                  <a:pt x="7387529" y="0"/>
                </a:lnTo>
                <a:cubicBezTo>
                  <a:pt x="6843901" y="3551681"/>
                  <a:pt x="7040135" y="2359314"/>
                  <a:pt x="6863410" y="3551804"/>
                </a:cubicBezTo>
                <a:lnTo>
                  <a:pt x="6400527" y="5837770"/>
                </a:lnTo>
                <a:lnTo>
                  <a:pt x="494" y="5837737"/>
                </a:lnTo>
                <a:cubicBezTo>
                  <a:pt x="-2783" y="3879959"/>
                  <a:pt x="11467" y="1959344"/>
                  <a:pt x="8190" y="1566"/>
                </a:cubicBezTo>
                <a:close/>
              </a:path>
            </a:pathLst>
          </a:custGeom>
          <a:solidFill>
            <a:schemeClr val="bg1">
              <a:alpha val="76000"/>
            </a:schemeClr>
          </a:solidFill>
        </p:spPr>
        <p:txBody>
          <a:bodyPr bIns="822960" anchor="ctr" anchorCtr="0"/>
          <a:lstStyle>
            <a:lvl1pPr marL="0" indent="0" algn="ctr">
              <a:buNone/>
              <a:defRPr sz="16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87722B7-85B8-4B28-8D2C-AB203933FB82}"/>
              </a:ext>
            </a:extLst>
          </p:cNvPr>
          <p:cNvCxnSpPr/>
          <p:nvPr userDrawn="1"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89856457-D663-4611-ABD0-E2D561EAE9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510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3047" y="1024137"/>
            <a:ext cx="12188953" cy="5833863"/>
          </a:xfrm>
        </p:spPr>
        <p:txBody>
          <a:bodyPr bIns="640080" anchor="ctr"/>
          <a:lstStyle>
            <a:lvl1pPr marL="0" indent="0" algn="ctr">
              <a:buNone/>
              <a:defRPr sz="1600" b="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420624" y="5239512"/>
            <a:ext cx="11338560" cy="1005840"/>
          </a:xfrm>
          <a:prstGeom prst="parallelogram">
            <a:avLst>
              <a:gd name="adj" fmla="val 30051"/>
            </a:avLst>
          </a:prstGeom>
          <a:solidFill>
            <a:schemeClr val="tx1">
              <a:lumMod val="75000"/>
              <a:alpha val="90000"/>
            </a:schemeClr>
          </a:soli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algn="ctr">
              <a:defRPr lang="en-US" sz="1094" dirty="0">
                <a:solidFill>
                  <a:srgbClr val="424949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77071" y="5422392"/>
            <a:ext cx="10625667" cy="640080"/>
          </a:xfrm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86BA76-D03A-447D-93D3-568F9DCEBF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DAC542-6568-45F6-8D34-B51B7D2C909F}"/>
              </a:ext>
            </a:extLst>
          </p:cNvPr>
          <p:cNvCxnSpPr/>
          <p:nvPr userDrawn="1"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302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01975" y="1942317"/>
            <a:ext cx="5806440" cy="2812017"/>
          </a:xfrm>
          <a:prstGeom prst="parallelogram">
            <a:avLst>
              <a:gd name="adj" fmla="val 2007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en-US" sz="1000" b="0" baseline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406939" y="1942317"/>
            <a:ext cx="5806440" cy="2818946"/>
          </a:xfrm>
          <a:prstGeom prst="parallelogram">
            <a:avLst>
              <a:gd name="adj" fmla="val 2121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938" y="4892084"/>
            <a:ext cx="5188104" cy="1371600"/>
          </a:xfrm>
        </p:spPr>
        <p:txBody>
          <a:bodyPr anchor="t" anchorCtr="0"/>
          <a:lstStyle>
            <a:lvl1pPr marL="0" indent="0" algn="l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7019" y="1363219"/>
            <a:ext cx="5166360" cy="457200"/>
          </a:xfrm>
        </p:spPr>
        <p:txBody>
          <a:bodyPr anchor="b" anchorCtr="0"/>
          <a:lstStyle>
            <a:lvl1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90923" y="1363219"/>
            <a:ext cx="5216810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4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01976" y="4892084"/>
            <a:ext cx="5191024" cy="1371600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873286" y="1942317"/>
            <a:ext cx="3931920" cy="2812017"/>
          </a:xfrm>
          <a:prstGeom prst="parallelogram">
            <a:avLst>
              <a:gd name="adj" fmla="val 2007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en-US" sz="1000" b="0" baseline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406939" y="1942317"/>
            <a:ext cx="3931920" cy="2818946"/>
          </a:xfrm>
          <a:prstGeom prst="parallelogram">
            <a:avLst>
              <a:gd name="adj" fmla="val 2121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938" y="4892084"/>
            <a:ext cx="3341743" cy="1371600"/>
          </a:xfrm>
        </p:spPr>
        <p:txBody>
          <a:bodyPr anchor="t" anchorCtr="0"/>
          <a:lstStyle>
            <a:lvl1pPr marL="0" indent="0" algn="l">
              <a:spcBef>
                <a:spcPts val="600"/>
              </a:spcBef>
              <a:buFontTx/>
              <a:buNone/>
              <a:defRPr sz="18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7019" y="1363219"/>
            <a:ext cx="3291840" cy="457200"/>
          </a:xfrm>
        </p:spPr>
        <p:txBody>
          <a:bodyPr anchor="b" anchorCtr="0"/>
          <a:lstStyle>
            <a:lvl1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454019-5987-41A5-9E1B-F658B5BD4D5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140112" y="1942317"/>
            <a:ext cx="3931920" cy="2818945"/>
          </a:xfrm>
          <a:prstGeom prst="parallelogram">
            <a:avLst>
              <a:gd name="adj" fmla="val 21041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en-US" sz="1000" baseline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85971" y="1363219"/>
            <a:ext cx="3321762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2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56AF97-CB2A-4ECE-8B84-2AAC33F740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53070" y="1363219"/>
            <a:ext cx="3321762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2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BC1B16-DCB6-4736-801B-22FC628E4E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1128" y="4892084"/>
            <a:ext cx="3319712" cy="1371890"/>
          </a:xfrm>
        </p:spPr>
        <p:txBody>
          <a:bodyPr vert="horz" lIns="0" tIns="0" rIns="0" bIns="0" rtlCol="0" anchor="t" anchorCtr="0">
            <a:noAutofit/>
          </a:bodyPr>
          <a:lstStyle>
            <a:lvl1pPr marL="273582" indent="-273582">
              <a:spcBef>
                <a:spcPts val="600"/>
              </a:spcBef>
              <a:buFontTx/>
              <a:buNone/>
              <a:defRPr lang="en-US" sz="1800"/>
            </a:lvl1pPr>
          </a:lstStyle>
          <a:p>
            <a:pPr marL="0" lvl="0" indent="0">
              <a:spcBef>
                <a:spcPts val="600"/>
              </a:spcBef>
              <a:buNone/>
            </a:pPr>
            <a:r>
              <a:rPr lang="en-US"/>
              <a:t>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3286" y="4892084"/>
            <a:ext cx="3319713" cy="1371600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 sz="1800"/>
            </a:lvl1pPr>
          </a:lstStyle>
          <a:p>
            <a:pPr lvl="0"/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35392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8F6BC3FA-5E17-4A0F-964F-4A27034F5998}"/>
              </a:ext>
            </a:extLst>
          </p:cNvPr>
          <p:cNvSpPr>
            <a:spLocks noGrp="1"/>
          </p:cNvSpPr>
          <p:nvPr>
            <p:ph type="pic" idx="26" hasCustomPrompt="1"/>
          </p:nvPr>
        </p:nvSpPr>
        <p:spPr>
          <a:xfrm>
            <a:off x="3200519" y="1942317"/>
            <a:ext cx="3017520" cy="2818946"/>
          </a:xfrm>
          <a:prstGeom prst="parallelogram">
            <a:avLst>
              <a:gd name="adj" fmla="val 2121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787679" y="1942317"/>
            <a:ext cx="3017520" cy="2812017"/>
          </a:xfrm>
          <a:prstGeom prst="parallelogram">
            <a:avLst>
              <a:gd name="adj" fmla="val 2007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>
              <a:buFontTx/>
              <a:buNone/>
              <a:defRPr lang="en-US" sz="1000" baseline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DC1F312-AA98-476B-AC51-0B5B9CA8D1B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994099" y="1942317"/>
            <a:ext cx="3017520" cy="2812778"/>
          </a:xfrm>
          <a:prstGeom prst="parallelogram">
            <a:avLst>
              <a:gd name="adj" fmla="val 21060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>
              <a:buFontTx/>
              <a:buNone/>
              <a:defRPr kumimoji="0" lang="en-US" sz="10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defRPr>
            </a:lvl1pPr>
          </a:lstStyle>
          <a:p>
            <a:pPr lvl="0" algn="ctr">
              <a:buFontTx/>
              <a:buNone/>
            </a:pPr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406939" y="1942317"/>
            <a:ext cx="3017520" cy="2818946"/>
          </a:xfrm>
          <a:prstGeom prst="parallelogram">
            <a:avLst>
              <a:gd name="adj" fmla="val 2121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939" y="4892084"/>
            <a:ext cx="2377440" cy="1371600"/>
          </a:xfrm>
        </p:spPr>
        <p:txBody>
          <a:bodyPr anchor="t" anchorCtr="0"/>
          <a:lstStyle>
            <a:lvl1pPr marL="0" indent="0" algn="l">
              <a:spcBef>
                <a:spcPts val="600"/>
              </a:spcBef>
              <a:buFontTx/>
              <a:buNone/>
              <a:defRPr sz="16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7019" y="1363219"/>
            <a:ext cx="2377440" cy="457200"/>
          </a:xfrm>
        </p:spPr>
        <p:txBody>
          <a:bodyPr anchor="b" anchorCtr="0"/>
          <a:lstStyle>
            <a:lvl1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B4ADEF2-D703-416A-83A8-6416D98953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77939" y="1363219"/>
            <a:ext cx="2377440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85750" marR="0" indent="-285750" algn="r" defTabSz="1086775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30293" y="1363219"/>
            <a:ext cx="2377440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56AF97-CB2A-4ECE-8B84-2AAC33F740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4349" y="1363219"/>
            <a:ext cx="2452633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BC1B16-DCB6-4736-801B-22FC628E4E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00519" y="4892084"/>
            <a:ext cx="2377956" cy="1371890"/>
          </a:xfrm>
        </p:spPr>
        <p:txBody>
          <a:bodyPr vert="horz" lIns="0" tIns="0" rIns="0" bIns="0" rtlCol="0" anchor="t" anchorCtr="0">
            <a:noAutofit/>
          </a:bodyPr>
          <a:lstStyle>
            <a:lvl1pPr marL="273582" indent="-273582">
              <a:spcBef>
                <a:spcPts val="600"/>
              </a:spcBef>
              <a:buFontTx/>
              <a:buNone/>
              <a:defRPr lang="en-US" sz="1600"/>
            </a:lvl1pPr>
          </a:lstStyle>
          <a:p>
            <a:pPr marL="0" lvl="0" indent="0">
              <a:spcBef>
                <a:spcPts val="600"/>
              </a:spcBef>
              <a:buNone/>
            </a:pPr>
            <a:r>
              <a:rPr lang="en-US"/>
              <a:t>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0A02ED-B306-406F-B7DE-864C0595FE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94400" y="4892084"/>
            <a:ext cx="2378075" cy="1371600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 sz="16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15559" y="4892084"/>
            <a:ext cx="2377440" cy="1371600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 sz="1600"/>
            </a:lvl1pPr>
          </a:lstStyle>
          <a:p>
            <a:pPr lvl="0"/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613271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3047" y="1024137"/>
            <a:ext cx="12188953" cy="5833863"/>
          </a:xfrm>
        </p:spPr>
        <p:txBody>
          <a:bodyPr bIns="640080" anchor="ctr"/>
          <a:lstStyle>
            <a:lvl1pPr marL="0" indent="0" algn="ctr">
              <a:buNone/>
              <a:defRPr sz="160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510706" y="4749440"/>
            <a:ext cx="9248306" cy="1495912"/>
          </a:xfrm>
          <a:prstGeom prst="parallelogram">
            <a:avLst>
              <a:gd name="adj" fmla="val 30051"/>
            </a:avLst>
          </a:prstGeom>
          <a:solidFill>
            <a:schemeClr val="tx1">
              <a:lumMod val="75000"/>
              <a:alpha val="90000"/>
            </a:schemeClr>
          </a:soli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algn="ctr">
              <a:defRPr lang="en-US" sz="1094" dirty="0">
                <a:solidFill>
                  <a:srgbClr val="424949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6940" y="4836996"/>
            <a:ext cx="7863840" cy="1320800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80401" y="4749440"/>
            <a:ext cx="2926080" cy="1495912"/>
          </a:xfrm>
          <a:prstGeom prst="parallelogram">
            <a:avLst>
              <a:gd name="adj" fmla="val 30051"/>
            </a:avLst>
          </a:pr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Futura Std Medium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571AC3-625A-4C34-ACE1-5D93DAC1F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31CBF66-77EF-44DB-ACBB-09A4D8263E8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802309" y="4836996"/>
            <a:ext cx="1920240" cy="1320800"/>
          </a:xfrm>
        </p:spPr>
        <p:txBody>
          <a:bodyPr bIns="91440" anchor="b" anchorCtr="0"/>
          <a:lstStyle>
            <a:lvl1pPr marL="0" indent="0" algn="ctr">
              <a:buFontTx/>
              <a:buNone/>
              <a:defRPr sz="1000">
                <a:solidFill>
                  <a:srgbClr val="FF0000"/>
                </a:solidFill>
              </a:defRPr>
            </a:lvl1pPr>
            <a:lvl2pPr marL="386674" indent="0">
              <a:buFontTx/>
              <a:buNone/>
              <a:defRPr/>
            </a:lvl2pPr>
            <a:lvl3pPr marL="704088" indent="0">
              <a:buFontTx/>
              <a:buNone/>
              <a:defRPr/>
            </a:lvl3pPr>
            <a:lvl4pPr marL="987552" indent="0">
              <a:buFontTx/>
              <a:buNone/>
              <a:defRPr/>
            </a:lvl4pPr>
            <a:lvl5pPr marL="1261872" indent="0">
              <a:buFontTx/>
              <a:buNone/>
              <a:defRPr/>
            </a:lvl5pPr>
          </a:lstStyle>
          <a:p>
            <a:pPr lvl="0"/>
            <a:r>
              <a:rPr lang="en-US"/>
              <a:t>Click picture icon to add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F772A10-09E0-42AF-8D63-44A86DEE3550}"/>
              </a:ext>
            </a:extLst>
          </p:cNvPr>
          <p:cNvCxnSpPr/>
          <p:nvPr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9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483608" y="1024128"/>
            <a:ext cx="7708392" cy="5833872"/>
          </a:xfrm>
          <a:custGeom>
            <a:avLst/>
            <a:gdLst>
              <a:gd name="connsiteX0" fmla="*/ 0 w 12192001"/>
              <a:gd name="connsiteY0" fmla="*/ 0 h 5833863"/>
              <a:gd name="connsiteX1" fmla="*/ 12192001 w 12192001"/>
              <a:gd name="connsiteY1" fmla="*/ 0 h 5833863"/>
              <a:gd name="connsiteX2" fmla="*/ 12192001 w 12192001"/>
              <a:gd name="connsiteY2" fmla="*/ 5833863 h 5833863"/>
              <a:gd name="connsiteX3" fmla="*/ 0 w 12192001"/>
              <a:gd name="connsiteY3" fmla="*/ 5833863 h 5833863"/>
              <a:gd name="connsiteX4" fmla="*/ 0 w 12192001"/>
              <a:gd name="connsiteY4" fmla="*/ 0 h 5833863"/>
              <a:gd name="connsiteX0" fmla="*/ 6804838 w 12192001"/>
              <a:gd name="connsiteY0" fmla="*/ 10632 h 5833863"/>
              <a:gd name="connsiteX1" fmla="*/ 12192001 w 12192001"/>
              <a:gd name="connsiteY1" fmla="*/ 0 h 5833863"/>
              <a:gd name="connsiteX2" fmla="*/ 12192001 w 12192001"/>
              <a:gd name="connsiteY2" fmla="*/ 5833863 h 5833863"/>
              <a:gd name="connsiteX3" fmla="*/ 0 w 12192001"/>
              <a:gd name="connsiteY3" fmla="*/ 5833863 h 5833863"/>
              <a:gd name="connsiteX4" fmla="*/ 6804838 w 12192001"/>
              <a:gd name="connsiteY4" fmla="*/ 10632 h 5833863"/>
              <a:gd name="connsiteX0" fmla="*/ 1424764 w 6811927"/>
              <a:gd name="connsiteY0" fmla="*/ 10632 h 5844496"/>
              <a:gd name="connsiteX1" fmla="*/ 6811927 w 6811927"/>
              <a:gd name="connsiteY1" fmla="*/ 0 h 5844496"/>
              <a:gd name="connsiteX2" fmla="*/ 6811927 w 6811927"/>
              <a:gd name="connsiteY2" fmla="*/ 5833863 h 5844496"/>
              <a:gd name="connsiteX3" fmla="*/ 0 w 6811927"/>
              <a:gd name="connsiteY3" fmla="*/ 5844496 h 5844496"/>
              <a:gd name="connsiteX4" fmla="*/ 1424764 w 6811927"/>
              <a:gd name="connsiteY4" fmla="*/ 10632 h 5844496"/>
              <a:gd name="connsiteX0" fmla="*/ 1392866 w 6811927"/>
              <a:gd name="connsiteY0" fmla="*/ 0 h 5855130"/>
              <a:gd name="connsiteX1" fmla="*/ 6811927 w 6811927"/>
              <a:gd name="connsiteY1" fmla="*/ 10634 h 5855130"/>
              <a:gd name="connsiteX2" fmla="*/ 6811927 w 6811927"/>
              <a:gd name="connsiteY2" fmla="*/ 5844497 h 5855130"/>
              <a:gd name="connsiteX3" fmla="*/ 0 w 6811927"/>
              <a:gd name="connsiteY3" fmla="*/ 5855130 h 5855130"/>
              <a:gd name="connsiteX4" fmla="*/ 1392866 w 6811927"/>
              <a:gd name="connsiteY4" fmla="*/ 0 h 5855130"/>
              <a:gd name="connsiteX0" fmla="*/ 1392866 w 6811927"/>
              <a:gd name="connsiteY0" fmla="*/ 586 h 5855716"/>
              <a:gd name="connsiteX1" fmla="*/ 6811927 w 6811927"/>
              <a:gd name="connsiteY1" fmla="*/ 0 h 5855716"/>
              <a:gd name="connsiteX2" fmla="*/ 6811927 w 6811927"/>
              <a:gd name="connsiteY2" fmla="*/ 5845083 h 5855716"/>
              <a:gd name="connsiteX3" fmla="*/ 0 w 6811927"/>
              <a:gd name="connsiteY3" fmla="*/ 5855716 h 5855716"/>
              <a:gd name="connsiteX4" fmla="*/ 1392866 w 6811927"/>
              <a:gd name="connsiteY4" fmla="*/ 586 h 5855716"/>
              <a:gd name="connsiteX0" fmla="*/ 1280685 w 6811927"/>
              <a:gd name="connsiteY0" fmla="*/ 586 h 5855716"/>
              <a:gd name="connsiteX1" fmla="*/ 6811927 w 6811927"/>
              <a:gd name="connsiteY1" fmla="*/ 0 h 5855716"/>
              <a:gd name="connsiteX2" fmla="*/ 6811927 w 6811927"/>
              <a:gd name="connsiteY2" fmla="*/ 5845083 h 5855716"/>
              <a:gd name="connsiteX3" fmla="*/ 0 w 6811927"/>
              <a:gd name="connsiteY3" fmla="*/ 5855716 h 5855716"/>
              <a:gd name="connsiteX4" fmla="*/ 1280685 w 6811927"/>
              <a:gd name="connsiteY4" fmla="*/ 586 h 5855716"/>
              <a:gd name="connsiteX0" fmla="*/ 1233942 w 6765184"/>
              <a:gd name="connsiteY0" fmla="*/ 586 h 5845083"/>
              <a:gd name="connsiteX1" fmla="*/ 6765184 w 6765184"/>
              <a:gd name="connsiteY1" fmla="*/ 0 h 5845083"/>
              <a:gd name="connsiteX2" fmla="*/ 6765184 w 6765184"/>
              <a:gd name="connsiteY2" fmla="*/ 5845083 h 5845083"/>
              <a:gd name="connsiteX3" fmla="*/ 0 w 6765184"/>
              <a:gd name="connsiteY3" fmla="*/ 5845083 h 5845083"/>
              <a:gd name="connsiteX4" fmla="*/ 1233942 w 6765184"/>
              <a:gd name="connsiteY4" fmla="*/ 586 h 584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5184" h="5845083">
                <a:moveTo>
                  <a:pt x="1233942" y="586"/>
                </a:moveTo>
                <a:lnTo>
                  <a:pt x="6765184" y="0"/>
                </a:lnTo>
                <a:lnTo>
                  <a:pt x="6765184" y="5845083"/>
                </a:lnTo>
                <a:lnTo>
                  <a:pt x="0" y="5845083"/>
                </a:lnTo>
                <a:lnTo>
                  <a:pt x="1233942" y="586"/>
                </a:lnTo>
                <a:close/>
              </a:path>
            </a:pathLst>
          </a:custGeom>
          <a:noFill/>
        </p:spPr>
        <p:txBody>
          <a:bodyPr bIns="731520" anchor="ctr"/>
          <a:lstStyle>
            <a:lvl1pPr marL="0" indent="0" algn="ctr">
              <a:buNone/>
              <a:defRPr sz="160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E382D4-3AC2-49F9-B25C-6147C6B7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E29014A-1667-4104-A12B-5AC4AEA177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399" y="1713332"/>
            <a:ext cx="4590474" cy="22159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spcBef>
                <a:spcPts val="600"/>
              </a:spcBef>
              <a:buFontTx/>
              <a:buNone/>
              <a:defRPr lang="en-US" sz="16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600F944-470E-4876-A67E-A4B36A1B13B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6083" y="5836609"/>
            <a:ext cx="2476500" cy="822960"/>
          </a:xfrm>
        </p:spPr>
        <p:txBody>
          <a:bodyPr anchor="ctr" anchorCtr="0"/>
          <a:lstStyle>
            <a:lvl1pPr marL="0" indent="0">
              <a:buNone/>
              <a:defRPr sz="1200" b="0">
                <a:solidFill>
                  <a:srgbClr val="FF0000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picture icon to add logo</a:t>
            </a:r>
          </a:p>
        </p:txBody>
      </p:sp>
      <p:sp>
        <p:nvSpPr>
          <p:cNvPr id="15" name="Right Triangle 18">
            <a:extLst>
              <a:ext uri="{FF2B5EF4-FFF2-40B4-BE49-F238E27FC236}">
                <a16:creationId xmlns:a16="http://schemas.microsoft.com/office/drawing/2014/main" id="{C1D1ECE8-5D2B-410A-8034-F23B90539DCF}"/>
              </a:ext>
            </a:extLst>
          </p:cNvPr>
          <p:cNvSpPr/>
          <p:nvPr/>
        </p:nvSpPr>
        <p:spPr>
          <a:xfrm rot="6201911" flipV="1">
            <a:off x="2496018" y="3331535"/>
            <a:ext cx="5234296" cy="374133"/>
          </a:xfrm>
          <a:custGeom>
            <a:avLst/>
            <a:gdLst>
              <a:gd name="connsiteX0" fmla="*/ 0 w 5331354"/>
              <a:gd name="connsiteY0" fmla="*/ 399619 h 399619"/>
              <a:gd name="connsiteX1" fmla="*/ 0 w 5331354"/>
              <a:gd name="connsiteY1" fmla="*/ 0 h 399619"/>
              <a:gd name="connsiteX2" fmla="*/ 5331354 w 5331354"/>
              <a:gd name="connsiteY2" fmla="*/ 399619 h 399619"/>
              <a:gd name="connsiteX3" fmla="*/ 0 w 5331354"/>
              <a:gd name="connsiteY3" fmla="*/ 399619 h 399619"/>
              <a:gd name="connsiteX0" fmla="*/ 0 w 5331354"/>
              <a:gd name="connsiteY0" fmla="*/ 383433 h 383433"/>
              <a:gd name="connsiteX1" fmla="*/ 113815 w 5331354"/>
              <a:gd name="connsiteY1" fmla="*/ 0 h 383433"/>
              <a:gd name="connsiteX2" fmla="*/ 5331354 w 5331354"/>
              <a:gd name="connsiteY2" fmla="*/ 383433 h 383433"/>
              <a:gd name="connsiteX3" fmla="*/ 0 w 5331354"/>
              <a:gd name="connsiteY3" fmla="*/ 383433 h 383433"/>
              <a:gd name="connsiteX0" fmla="*/ 0 w 5315968"/>
              <a:gd name="connsiteY0" fmla="*/ 394410 h 394410"/>
              <a:gd name="connsiteX1" fmla="*/ 98429 w 5315968"/>
              <a:gd name="connsiteY1" fmla="*/ 0 h 394410"/>
              <a:gd name="connsiteX2" fmla="*/ 5315968 w 5315968"/>
              <a:gd name="connsiteY2" fmla="*/ 383433 h 394410"/>
              <a:gd name="connsiteX3" fmla="*/ 0 w 5315968"/>
              <a:gd name="connsiteY3" fmla="*/ 394410 h 394410"/>
              <a:gd name="connsiteX0" fmla="*/ 0 w 5315968"/>
              <a:gd name="connsiteY0" fmla="*/ 393107 h 393107"/>
              <a:gd name="connsiteX1" fmla="*/ 123037 w 5315968"/>
              <a:gd name="connsiteY1" fmla="*/ 0 h 393107"/>
              <a:gd name="connsiteX2" fmla="*/ 5315968 w 5315968"/>
              <a:gd name="connsiteY2" fmla="*/ 382130 h 393107"/>
              <a:gd name="connsiteX3" fmla="*/ 0 w 5315968"/>
              <a:gd name="connsiteY3" fmla="*/ 393107 h 393107"/>
              <a:gd name="connsiteX0" fmla="*/ 0 w 5232508"/>
              <a:gd name="connsiteY0" fmla="*/ 394326 h 394326"/>
              <a:gd name="connsiteX1" fmla="*/ 39577 w 5232508"/>
              <a:gd name="connsiteY1" fmla="*/ 0 h 394326"/>
              <a:gd name="connsiteX2" fmla="*/ 5232508 w 5232508"/>
              <a:gd name="connsiteY2" fmla="*/ 382130 h 394326"/>
              <a:gd name="connsiteX3" fmla="*/ 0 w 5232508"/>
              <a:gd name="connsiteY3" fmla="*/ 394326 h 394326"/>
              <a:gd name="connsiteX0" fmla="*/ 0 w 5232508"/>
              <a:gd name="connsiteY0" fmla="*/ 370869 h 370869"/>
              <a:gd name="connsiteX1" fmla="*/ 99143 w 5232508"/>
              <a:gd name="connsiteY1" fmla="*/ 0 h 370869"/>
              <a:gd name="connsiteX2" fmla="*/ 5232508 w 5232508"/>
              <a:gd name="connsiteY2" fmla="*/ 358673 h 370869"/>
              <a:gd name="connsiteX3" fmla="*/ 0 w 5232508"/>
              <a:gd name="connsiteY3" fmla="*/ 370869 h 370869"/>
              <a:gd name="connsiteX0" fmla="*/ 0 w 5232508"/>
              <a:gd name="connsiteY0" fmla="*/ 370869 h 370869"/>
              <a:gd name="connsiteX1" fmla="*/ 99143 w 5232508"/>
              <a:gd name="connsiteY1" fmla="*/ 0 h 370869"/>
              <a:gd name="connsiteX2" fmla="*/ 5232508 w 5232508"/>
              <a:gd name="connsiteY2" fmla="*/ 358673 h 370869"/>
              <a:gd name="connsiteX3" fmla="*/ 0 w 5232508"/>
              <a:gd name="connsiteY3" fmla="*/ 370869 h 370869"/>
              <a:gd name="connsiteX0" fmla="*/ 0 w 5232508"/>
              <a:gd name="connsiteY0" fmla="*/ 371685 h 371685"/>
              <a:gd name="connsiteX1" fmla="*/ 95707 w 5232508"/>
              <a:gd name="connsiteY1" fmla="*/ 0 h 371685"/>
              <a:gd name="connsiteX2" fmla="*/ 5232508 w 5232508"/>
              <a:gd name="connsiteY2" fmla="*/ 359489 h 371685"/>
              <a:gd name="connsiteX3" fmla="*/ 0 w 5232508"/>
              <a:gd name="connsiteY3" fmla="*/ 371685 h 371685"/>
              <a:gd name="connsiteX0" fmla="*/ 0 w 5222204"/>
              <a:gd name="connsiteY0" fmla="*/ 374133 h 374133"/>
              <a:gd name="connsiteX1" fmla="*/ 85403 w 5222204"/>
              <a:gd name="connsiteY1" fmla="*/ 0 h 374133"/>
              <a:gd name="connsiteX2" fmla="*/ 5222204 w 5222204"/>
              <a:gd name="connsiteY2" fmla="*/ 359489 h 374133"/>
              <a:gd name="connsiteX3" fmla="*/ 0 w 5222204"/>
              <a:gd name="connsiteY3" fmla="*/ 374133 h 374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2204" h="374133">
                <a:moveTo>
                  <a:pt x="0" y="374133"/>
                </a:moveTo>
                <a:lnTo>
                  <a:pt x="85403" y="0"/>
                </a:lnTo>
                <a:lnTo>
                  <a:pt x="5222204" y="359489"/>
                </a:lnTo>
                <a:lnTo>
                  <a:pt x="0" y="374133"/>
                </a:lnTo>
                <a:close/>
              </a:path>
            </a:pathLst>
          </a:custGeom>
          <a:gradFill>
            <a:gsLst>
              <a:gs pos="0">
                <a:srgbClr val="2E3535"/>
              </a:gs>
              <a:gs pos="69000">
                <a:srgbClr val="46505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ight Triangle 19">
            <a:extLst>
              <a:ext uri="{FF2B5EF4-FFF2-40B4-BE49-F238E27FC236}">
                <a16:creationId xmlns:a16="http://schemas.microsoft.com/office/drawing/2014/main" id="{2056ADC7-D735-4F17-B663-E0C1CD9C9744}"/>
              </a:ext>
            </a:extLst>
          </p:cNvPr>
          <p:cNvSpPr/>
          <p:nvPr/>
        </p:nvSpPr>
        <p:spPr>
          <a:xfrm rot="6201911" flipH="1" flipV="1">
            <a:off x="2262806" y="4172397"/>
            <a:ext cx="5266777" cy="395244"/>
          </a:xfrm>
          <a:custGeom>
            <a:avLst/>
            <a:gdLst>
              <a:gd name="connsiteX0" fmla="*/ 0 w 5331354"/>
              <a:gd name="connsiteY0" fmla="*/ 399619 h 399619"/>
              <a:gd name="connsiteX1" fmla="*/ 0 w 5331354"/>
              <a:gd name="connsiteY1" fmla="*/ 0 h 399619"/>
              <a:gd name="connsiteX2" fmla="*/ 5331354 w 5331354"/>
              <a:gd name="connsiteY2" fmla="*/ 399619 h 399619"/>
              <a:gd name="connsiteX3" fmla="*/ 0 w 5331354"/>
              <a:gd name="connsiteY3" fmla="*/ 399619 h 399619"/>
              <a:gd name="connsiteX0" fmla="*/ 136591 w 5331354"/>
              <a:gd name="connsiteY0" fmla="*/ 405510 h 405510"/>
              <a:gd name="connsiteX1" fmla="*/ 0 w 5331354"/>
              <a:gd name="connsiteY1" fmla="*/ 0 h 405510"/>
              <a:gd name="connsiteX2" fmla="*/ 5331354 w 5331354"/>
              <a:gd name="connsiteY2" fmla="*/ 399619 h 405510"/>
              <a:gd name="connsiteX3" fmla="*/ 136591 w 5331354"/>
              <a:gd name="connsiteY3" fmla="*/ 405510 h 405510"/>
              <a:gd name="connsiteX0" fmla="*/ 111532 w 5306295"/>
              <a:gd name="connsiteY0" fmla="*/ 408856 h 408856"/>
              <a:gd name="connsiteX1" fmla="*/ 0 w 5306295"/>
              <a:gd name="connsiteY1" fmla="*/ 0 h 408856"/>
              <a:gd name="connsiteX2" fmla="*/ 5306295 w 5306295"/>
              <a:gd name="connsiteY2" fmla="*/ 402965 h 408856"/>
              <a:gd name="connsiteX3" fmla="*/ 111532 w 5306295"/>
              <a:gd name="connsiteY3" fmla="*/ 408856 h 408856"/>
              <a:gd name="connsiteX0" fmla="*/ 111532 w 5306295"/>
              <a:gd name="connsiteY0" fmla="*/ 408856 h 408856"/>
              <a:gd name="connsiteX1" fmla="*/ 0 w 5306295"/>
              <a:gd name="connsiteY1" fmla="*/ 0 h 408856"/>
              <a:gd name="connsiteX2" fmla="*/ 5306295 w 5306295"/>
              <a:gd name="connsiteY2" fmla="*/ 402965 h 408856"/>
              <a:gd name="connsiteX3" fmla="*/ 111532 w 5306295"/>
              <a:gd name="connsiteY3" fmla="*/ 408856 h 408856"/>
              <a:gd name="connsiteX0" fmla="*/ 116434 w 5311197"/>
              <a:gd name="connsiteY0" fmla="*/ 395244 h 395244"/>
              <a:gd name="connsiteX1" fmla="*/ 0 w 5311197"/>
              <a:gd name="connsiteY1" fmla="*/ 0 h 395244"/>
              <a:gd name="connsiteX2" fmla="*/ 5311197 w 5311197"/>
              <a:gd name="connsiteY2" fmla="*/ 389353 h 395244"/>
              <a:gd name="connsiteX3" fmla="*/ 116434 w 5311197"/>
              <a:gd name="connsiteY3" fmla="*/ 395244 h 395244"/>
              <a:gd name="connsiteX0" fmla="*/ 116434 w 5311197"/>
              <a:gd name="connsiteY0" fmla="*/ 395244 h 395244"/>
              <a:gd name="connsiteX1" fmla="*/ 0 w 5311197"/>
              <a:gd name="connsiteY1" fmla="*/ 0 h 395244"/>
              <a:gd name="connsiteX2" fmla="*/ 5311197 w 5311197"/>
              <a:gd name="connsiteY2" fmla="*/ 389353 h 395244"/>
              <a:gd name="connsiteX3" fmla="*/ 116434 w 5311197"/>
              <a:gd name="connsiteY3" fmla="*/ 395244 h 39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1197" h="395244">
                <a:moveTo>
                  <a:pt x="116434" y="395244"/>
                </a:moveTo>
                <a:lnTo>
                  <a:pt x="0" y="0"/>
                </a:lnTo>
                <a:lnTo>
                  <a:pt x="5311197" y="389353"/>
                </a:lnTo>
                <a:lnTo>
                  <a:pt x="116434" y="395244"/>
                </a:lnTo>
                <a:close/>
              </a:path>
            </a:pathLst>
          </a:custGeom>
          <a:gradFill>
            <a:gsLst>
              <a:gs pos="2000">
                <a:schemeClr val="bg2">
                  <a:lumMod val="50000"/>
                </a:schemeClr>
              </a:gs>
              <a:gs pos="33000">
                <a:schemeClr val="bg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9D3E824-11C4-4CE4-BCF2-EC9894DA00EF}"/>
              </a:ext>
            </a:extLst>
          </p:cNvPr>
          <p:cNvCxnSpPr/>
          <p:nvPr userDrawn="1"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7F9A3426-DCF4-4200-9BFB-AFFE3B2E955E}"/>
              </a:ext>
            </a:extLst>
          </p:cNvPr>
          <p:cNvSpPr/>
          <p:nvPr userDrawn="1"/>
        </p:nvSpPr>
        <p:spPr>
          <a:xfrm>
            <a:off x="12545587" y="2740152"/>
            <a:ext cx="2866866" cy="231311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3 categories are recommended for a customer story: 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 b="1">
                <a:solidFill>
                  <a:schemeClr val="tx1"/>
                </a:solidFill>
              </a:rPr>
              <a:t>Problem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 b="1">
                <a:solidFill>
                  <a:schemeClr val="tx1"/>
                </a:solidFill>
              </a:rPr>
              <a:t>Solution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 b="1">
                <a:solidFill>
                  <a:schemeClr val="tx1"/>
                </a:solidFill>
              </a:rPr>
              <a:t>Impac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5F0DE8-A220-46CA-97B6-00A580B66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399" y="1395413"/>
            <a:ext cx="4812146" cy="274320"/>
          </a:xfrm>
        </p:spPr>
        <p:txBody>
          <a:bodyPr anchor="b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5325D8-653E-41F9-823C-80A144A70B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6399" y="2803600"/>
            <a:ext cx="4405313" cy="27432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>
              <a:lnSpc>
                <a:spcPct val="85000"/>
              </a:lnSpc>
              <a:spcBef>
                <a:spcPts val="0"/>
              </a:spcBef>
              <a:buFontTx/>
              <a:buNone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B9ABB11-55E5-418D-9430-C495211D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6399" y="3135352"/>
            <a:ext cx="4405313" cy="221599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273582" indent="-273582">
              <a:spcBef>
                <a:spcPts val="600"/>
              </a:spcBef>
              <a:buFontTx/>
              <a:buNone/>
              <a:defRPr lang="en-US" sz="1600"/>
            </a:lvl1pPr>
          </a:lstStyle>
          <a:p>
            <a:pPr marL="0" lvl="0" indent="0">
              <a:buNone/>
            </a:pPr>
            <a:r>
              <a:rPr lang="en-US"/>
              <a:t>Add tex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DA603D4-8AA9-4B50-9536-62D28BF6D1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6399" y="4239495"/>
            <a:ext cx="4126201" cy="27432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>
              <a:lnSpc>
                <a:spcPct val="85000"/>
              </a:lnSpc>
              <a:spcBef>
                <a:spcPts val="0"/>
              </a:spcBef>
              <a:buFontTx/>
              <a:buNone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Tit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1589815-FAC5-48B3-BA77-15C684FE7E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6399" y="4566465"/>
            <a:ext cx="3959946" cy="221599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273582" indent="-273582">
              <a:spcBef>
                <a:spcPts val="600"/>
              </a:spcBef>
              <a:buFontTx/>
              <a:buNone/>
              <a:defRPr lang="en-US" sz="1600"/>
            </a:lvl1pPr>
          </a:lstStyle>
          <a:p>
            <a:pPr marL="0" lvl="0" indent="0">
              <a:buNone/>
            </a:pPr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3391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 Client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>
            <a:extLst>
              <a:ext uri="{FF2B5EF4-FFF2-40B4-BE49-F238E27FC236}">
                <a16:creationId xmlns:a16="http://schemas.microsoft.com/office/drawing/2014/main" id="{CAE554B7-E337-4E78-B477-48942E8B731A}"/>
              </a:ext>
            </a:extLst>
          </p:cNvPr>
          <p:cNvSpPr/>
          <p:nvPr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73933"/>
              <a:gd name="connsiteX1" fmla="*/ 8385464 w 8385464"/>
              <a:gd name="connsiteY1" fmla="*/ 0 h 6873933"/>
              <a:gd name="connsiteX2" fmla="*/ 6255328 w 8385464"/>
              <a:gd name="connsiteY2" fmla="*/ 5029200 h 6873933"/>
              <a:gd name="connsiteX3" fmla="*/ 6878783 w 8385464"/>
              <a:gd name="connsiteY3" fmla="*/ 6873933 h 6873933"/>
              <a:gd name="connsiteX4" fmla="*/ 0 w 8385464"/>
              <a:gd name="connsiteY4" fmla="*/ 6858000 h 6873933"/>
              <a:gd name="connsiteX5" fmla="*/ 0 w 8385464"/>
              <a:gd name="connsiteY5" fmla="*/ 0 h 6873933"/>
              <a:gd name="connsiteX0" fmla="*/ 0 w 8385464"/>
              <a:gd name="connsiteY0" fmla="*/ 0 h 6859756"/>
              <a:gd name="connsiteX1" fmla="*/ 8385464 w 8385464"/>
              <a:gd name="connsiteY1" fmla="*/ 0 h 6859756"/>
              <a:gd name="connsiteX2" fmla="*/ 6255328 w 8385464"/>
              <a:gd name="connsiteY2" fmla="*/ 5029200 h 6859756"/>
              <a:gd name="connsiteX3" fmla="*/ 6850430 w 8385464"/>
              <a:gd name="connsiteY3" fmla="*/ 6859756 h 6859756"/>
              <a:gd name="connsiteX4" fmla="*/ 0 w 8385464"/>
              <a:gd name="connsiteY4" fmla="*/ 6858000 h 6859756"/>
              <a:gd name="connsiteX5" fmla="*/ 0 w 8385464"/>
              <a:gd name="connsiteY5" fmla="*/ 0 h 6859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9756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23959" y="5408493"/>
                  <a:pt x="6850430" y="6859756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ight Triangle 3">
            <a:extLst>
              <a:ext uri="{FF2B5EF4-FFF2-40B4-BE49-F238E27FC236}">
                <a16:creationId xmlns:a16="http://schemas.microsoft.com/office/drawing/2014/main" id="{D048BFA1-9840-47F2-88B0-9356A47BA57D}"/>
              </a:ext>
            </a:extLst>
          </p:cNvPr>
          <p:cNvSpPr/>
          <p:nvPr/>
        </p:nvSpPr>
        <p:spPr>
          <a:xfrm flipH="1">
            <a:off x="5182058" y="4244657"/>
            <a:ext cx="1505899" cy="2626242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5899" h="2626242">
                <a:moveTo>
                  <a:pt x="350874" y="2626242"/>
                </a:moveTo>
                <a:lnTo>
                  <a:pt x="0" y="0"/>
                </a:lnTo>
                <a:lnTo>
                  <a:pt x="1505899" y="2626242"/>
                </a:lnTo>
                <a:lnTo>
                  <a:pt x="350874" y="2626242"/>
                </a:lnTo>
                <a:close/>
              </a:path>
            </a:pathLst>
          </a:custGeom>
          <a:gradFill>
            <a:gsLst>
              <a:gs pos="2000">
                <a:srgbClr val="62B53F"/>
              </a:gs>
              <a:gs pos="52000">
                <a:srgbClr val="529533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Right Triangle 3">
            <a:extLst>
              <a:ext uri="{FF2B5EF4-FFF2-40B4-BE49-F238E27FC236}">
                <a16:creationId xmlns:a16="http://schemas.microsoft.com/office/drawing/2014/main" id="{05EA0488-6DF6-4EA9-B352-83FC6A3A09EC}"/>
              </a:ext>
            </a:extLst>
          </p:cNvPr>
          <p:cNvSpPr/>
          <p:nvPr/>
        </p:nvSpPr>
        <p:spPr>
          <a:xfrm>
            <a:off x="6009662" y="3819354"/>
            <a:ext cx="963639" cy="3051545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0 w 1155025"/>
              <a:gd name="connsiteY0" fmla="*/ 3051545 h 3051545"/>
              <a:gd name="connsiteX1" fmla="*/ 733647 w 1155025"/>
              <a:gd name="connsiteY1" fmla="*/ 0 h 3051545"/>
              <a:gd name="connsiteX2" fmla="*/ 1155025 w 1155025"/>
              <a:gd name="connsiteY2" fmla="*/ 3051545 h 3051545"/>
              <a:gd name="connsiteX3" fmla="*/ 0 w 1155025"/>
              <a:gd name="connsiteY3" fmla="*/ 3051545 h 3051545"/>
              <a:gd name="connsiteX0" fmla="*/ 0 w 963639"/>
              <a:gd name="connsiteY0" fmla="*/ 3051545 h 3051545"/>
              <a:gd name="connsiteX1" fmla="*/ 733647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963639"/>
              <a:gd name="connsiteY0" fmla="*/ 3051545 h 3051545"/>
              <a:gd name="connsiteX1" fmla="*/ 754912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3639" h="3051545">
                <a:moveTo>
                  <a:pt x="0" y="3051545"/>
                </a:moveTo>
                <a:lnTo>
                  <a:pt x="754912" y="0"/>
                </a:lnTo>
                <a:lnTo>
                  <a:pt x="963639" y="3051545"/>
                </a:lnTo>
                <a:lnTo>
                  <a:pt x="0" y="3051545"/>
                </a:lnTo>
                <a:close/>
              </a:path>
            </a:pathLst>
          </a:custGeom>
          <a:gradFill>
            <a:gsLst>
              <a:gs pos="27000">
                <a:srgbClr val="5EAC3E"/>
              </a:gs>
              <a:gs pos="64000">
                <a:srgbClr val="67BD4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ight Triangle 3">
            <a:extLst>
              <a:ext uri="{FF2B5EF4-FFF2-40B4-BE49-F238E27FC236}">
                <a16:creationId xmlns:a16="http://schemas.microsoft.com/office/drawing/2014/main" id="{3F7BA2F8-1EC4-4C88-BB12-9EB40316DCA2}"/>
              </a:ext>
            </a:extLst>
          </p:cNvPr>
          <p:cNvSpPr/>
          <p:nvPr/>
        </p:nvSpPr>
        <p:spPr>
          <a:xfrm rot="12173926">
            <a:off x="7077301" y="-433026"/>
            <a:ext cx="1014731" cy="5982297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0 w 1155025"/>
              <a:gd name="connsiteY0" fmla="*/ 3051545 h 3051545"/>
              <a:gd name="connsiteX1" fmla="*/ 733647 w 1155025"/>
              <a:gd name="connsiteY1" fmla="*/ 0 h 3051545"/>
              <a:gd name="connsiteX2" fmla="*/ 1155025 w 1155025"/>
              <a:gd name="connsiteY2" fmla="*/ 3051545 h 3051545"/>
              <a:gd name="connsiteX3" fmla="*/ 0 w 1155025"/>
              <a:gd name="connsiteY3" fmla="*/ 3051545 h 3051545"/>
              <a:gd name="connsiteX0" fmla="*/ 0 w 963639"/>
              <a:gd name="connsiteY0" fmla="*/ 3051545 h 3051545"/>
              <a:gd name="connsiteX1" fmla="*/ 733647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963639"/>
              <a:gd name="connsiteY0" fmla="*/ 3051545 h 3051545"/>
              <a:gd name="connsiteX1" fmla="*/ 754912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1014731"/>
              <a:gd name="connsiteY0" fmla="*/ 3477101 h 3477101"/>
              <a:gd name="connsiteX1" fmla="*/ 806004 w 1014731"/>
              <a:gd name="connsiteY1" fmla="*/ 0 h 3477101"/>
              <a:gd name="connsiteX2" fmla="*/ 1014731 w 1014731"/>
              <a:gd name="connsiteY2" fmla="*/ 3051545 h 3477101"/>
              <a:gd name="connsiteX3" fmla="*/ 0 w 1014731"/>
              <a:gd name="connsiteY3" fmla="*/ 3477101 h 3477101"/>
              <a:gd name="connsiteX0" fmla="*/ 0 w 1014731"/>
              <a:gd name="connsiteY0" fmla="*/ 5974885 h 5974885"/>
              <a:gd name="connsiteX1" fmla="*/ 789755 w 1014731"/>
              <a:gd name="connsiteY1" fmla="*/ 0 h 5974885"/>
              <a:gd name="connsiteX2" fmla="*/ 1014731 w 1014731"/>
              <a:gd name="connsiteY2" fmla="*/ 5549329 h 5974885"/>
              <a:gd name="connsiteX3" fmla="*/ 0 w 1014731"/>
              <a:gd name="connsiteY3" fmla="*/ 5974885 h 5974885"/>
              <a:gd name="connsiteX0" fmla="*/ 0 w 1014731"/>
              <a:gd name="connsiteY0" fmla="*/ 5982297 h 5982297"/>
              <a:gd name="connsiteX1" fmla="*/ 807304 w 1014731"/>
              <a:gd name="connsiteY1" fmla="*/ 0 h 5982297"/>
              <a:gd name="connsiteX2" fmla="*/ 1014731 w 1014731"/>
              <a:gd name="connsiteY2" fmla="*/ 5556741 h 5982297"/>
              <a:gd name="connsiteX3" fmla="*/ 0 w 1014731"/>
              <a:gd name="connsiteY3" fmla="*/ 5982297 h 5982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731" h="5982297">
                <a:moveTo>
                  <a:pt x="0" y="5982297"/>
                </a:moveTo>
                <a:lnTo>
                  <a:pt x="807304" y="0"/>
                </a:lnTo>
                <a:lnTo>
                  <a:pt x="1014731" y="5556741"/>
                </a:lnTo>
                <a:lnTo>
                  <a:pt x="0" y="5982297"/>
                </a:lnTo>
                <a:close/>
              </a:path>
            </a:pathLst>
          </a:custGeom>
          <a:gradFill>
            <a:gsLst>
              <a:gs pos="34000">
                <a:schemeClr val="bg2"/>
              </a:gs>
              <a:gs pos="100000">
                <a:srgbClr val="5BA23C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964" y="2128789"/>
            <a:ext cx="5760720" cy="2086725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n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965" y="4961946"/>
            <a:ext cx="493776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965" y="5275940"/>
            <a:ext cx="493776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965" y="6263052"/>
            <a:ext cx="457200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8B4A39F-25EE-4457-8E27-D06C5F09B70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430114" y="3256546"/>
            <a:ext cx="4310701" cy="1882441"/>
          </a:xfrm>
        </p:spPr>
        <p:txBody>
          <a:bodyPr anchor="b" anchorCtr="0"/>
          <a:lstStyle>
            <a:lvl1pPr marL="0" indent="0" algn="ctr">
              <a:buNone/>
              <a:defRPr sz="16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on picture icon to add logo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EAA543-3DF8-4DD0-BCAA-E95DA54D93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941" y="538947"/>
            <a:ext cx="2111973" cy="8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177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55E6351-3664-481B-A648-206E0CD8A5E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775092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43D3B7C-418E-470E-981B-327C6F84D455}"/>
              </a:ext>
            </a:extLst>
          </p:cNvPr>
          <p:cNvCxnSpPr>
            <a:cxnSpLocks/>
          </p:cNvCxnSpPr>
          <p:nvPr userDrawn="1"/>
        </p:nvCxnSpPr>
        <p:spPr>
          <a:xfrm flipH="1">
            <a:off x="3972263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F0FD32-9090-4291-8D32-3CDEE14A0045}"/>
              </a:ext>
            </a:extLst>
          </p:cNvPr>
          <p:cNvCxnSpPr>
            <a:cxnSpLocks/>
          </p:cNvCxnSpPr>
          <p:nvPr userDrawn="1"/>
        </p:nvCxnSpPr>
        <p:spPr>
          <a:xfrm flipH="1">
            <a:off x="7956916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3746685"/>
            <a:ext cx="2834640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178299"/>
            <a:ext cx="2835275" cy="502920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3746685"/>
            <a:ext cx="2834640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178299"/>
            <a:ext cx="2835275" cy="502920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8074" y="3746685"/>
            <a:ext cx="2834640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178299"/>
            <a:ext cx="2835275" cy="502920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C2BB7F10-6A20-4542-B780-B67B57F70CB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805920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BF4425F7-65C9-4AE6-BC1B-1F9B930A1906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763757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39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2711B1F-3382-4985-B5DE-4EA7957B35F0}"/>
              </a:ext>
            </a:extLst>
          </p:cNvPr>
          <p:cNvCxnSpPr>
            <a:cxnSpLocks/>
          </p:cNvCxnSpPr>
          <p:nvPr userDrawn="1"/>
        </p:nvCxnSpPr>
        <p:spPr>
          <a:xfrm flipH="1">
            <a:off x="3173689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94908B8-D9E2-4876-8A5F-0C30864EC0CC}"/>
              </a:ext>
            </a:extLst>
          </p:cNvPr>
          <p:cNvCxnSpPr>
            <a:cxnSpLocks/>
          </p:cNvCxnSpPr>
          <p:nvPr userDrawn="1"/>
        </p:nvCxnSpPr>
        <p:spPr>
          <a:xfrm flipH="1">
            <a:off x="5931612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6FE6E68-DC93-43DF-AACD-D351F3DED926}"/>
              </a:ext>
            </a:extLst>
          </p:cNvPr>
          <p:cNvCxnSpPr>
            <a:cxnSpLocks/>
          </p:cNvCxnSpPr>
          <p:nvPr userDrawn="1"/>
        </p:nvCxnSpPr>
        <p:spPr>
          <a:xfrm flipH="1">
            <a:off x="8689536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2462" y="3746685"/>
            <a:ext cx="1936096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22546" y="4178298"/>
            <a:ext cx="1936532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80167" y="3746685"/>
            <a:ext cx="1936096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9949" y="4178298"/>
            <a:ext cx="1936532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38090" y="3746685"/>
            <a:ext cx="1936096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37872" y="4178298"/>
            <a:ext cx="1936532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296231" y="3746685"/>
            <a:ext cx="1936096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96315" y="4178298"/>
            <a:ext cx="1936532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621183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71588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872397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121993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186309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08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2DD041B-60EC-4157-A0A4-EEA3B609944C}"/>
              </a:ext>
            </a:extLst>
          </p:cNvPr>
          <p:cNvCxnSpPr>
            <a:cxnSpLocks/>
          </p:cNvCxnSpPr>
          <p:nvPr userDrawn="1"/>
        </p:nvCxnSpPr>
        <p:spPr>
          <a:xfrm flipH="1">
            <a:off x="2347178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64B691A-1970-4BC2-8CF6-4B7C1A1365E4}"/>
              </a:ext>
            </a:extLst>
          </p:cNvPr>
          <p:cNvCxnSpPr>
            <a:cxnSpLocks/>
          </p:cNvCxnSpPr>
          <p:nvPr userDrawn="1"/>
        </p:nvCxnSpPr>
        <p:spPr>
          <a:xfrm flipH="1">
            <a:off x="4671278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8384DE1-5103-4FEC-9FC4-B8CFB5AC69EC}"/>
              </a:ext>
            </a:extLst>
          </p:cNvPr>
          <p:cNvCxnSpPr>
            <a:cxnSpLocks/>
          </p:cNvCxnSpPr>
          <p:nvPr userDrawn="1"/>
        </p:nvCxnSpPr>
        <p:spPr>
          <a:xfrm flipH="1">
            <a:off x="6995378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EBA27AA-2192-443E-8B7F-B614A09CDE84}"/>
              </a:ext>
            </a:extLst>
          </p:cNvPr>
          <p:cNvCxnSpPr>
            <a:cxnSpLocks/>
          </p:cNvCxnSpPr>
          <p:nvPr userDrawn="1"/>
        </p:nvCxnSpPr>
        <p:spPr>
          <a:xfrm flipH="1">
            <a:off x="9319478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49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28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0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2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50821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03291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7971181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73456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15284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58FF6-623A-4EBD-B1EA-596248D3A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940" y="347472"/>
            <a:ext cx="10259568" cy="3939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9E8F30-2DD0-47C6-B544-E0DC240C8061}"/>
              </a:ext>
            </a:extLst>
          </p:cNvPr>
          <p:cNvSpPr/>
          <p:nvPr userDrawn="1"/>
        </p:nvSpPr>
        <p:spPr>
          <a:xfrm>
            <a:off x="12545587" y="2740152"/>
            <a:ext cx="3516486" cy="28097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Play in page layout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or</a:t>
            </a:r>
          </a:p>
          <a:p>
            <a:pPr marL="342900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Click on video </a:t>
            </a:r>
          </a:p>
          <a:p>
            <a:pPr marL="342900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On playback tab click “play full screen”</a:t>
            </a:r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450848" y="1109565"/>
            <a:ext cx="9290304" cy="5239512"/>
          </a:xfrm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rgbClr val="FF0000"/>
                </a:solidFill>
              </a:defRPr>
            </a:lvl1pPr>
          </a:lstStyle>
          <a:p>
            <a:r>
              <a:rPr lang="en-US"/>
              <a:t>Click media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141988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58FF6-623A-4EBD-B1EA-596248D3A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940" y="347472"/>
            <a:ext cx="10259568" cy="3939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9E8F30-2DD0-47C6-B544-E0DC240C8061}"/>
              </a:ext>
            </a:extLst>
          </p:cNvPr>
          <p:cNvSpPr/>
          <p:nvPr userDrawn="1"/>
        </p:nvSpPr>
        <p:spPr>
          <a:xfrm>
            <a:off x="12545587" y="2740152"/>
            <a:ext cx="3516486" cy="28097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Play in page layout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or</a:t>
            </a:r>
          </a:p>
          <a:p>
            <a:pPr marL="342900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Click on video </a:t>
            </a:r>
          </a:p>
          <a:p>
            <a:pPr marL="342900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On playback tab click “play full screen”</a:t>
            </a:r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4641723" y="1604368"/>
            <a:ext cx="7040880" cy="3959352"/>
          </a:xfrm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rgbClr val="FF0000"/>
                </a:solidFill>
              </a:defRPr>
            </a:lvl1pPr>
          </a:lstStyle>
          <a:p>
            <a:r>
              <a:rPr lang="en-US"/>
              <a:t>Click media icon to add vide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FE756DC-DEB1-4259-BC60-1F76B2A0686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140" y="3417845"/>
            <a:ext cx="3898360" cy="332399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mtClean="0"/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5641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CFC561A-8325-4B68-A64B-F9F5D410B0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2087" y="4043606"/>
            <a:ext cx="3252063" cy="1265243"/>
          </a:xfrm>
          <a:prstGeom prst="rect">
            <a:avLst/>
          </a:prstGeom>
        </p:spPr>
      </p:pic>
      <p:sp>
        <p:nvSpPr>
          <p:cNvPr id="8" name="Rectangle 4">
            <a:extLst>
              <a:ext uri="{FF2B5EF4-FFF2-40B4-BE49-F238E27FC236}">
                <a16:creationId xmlns:a16="http://schemas.microsoft.com/office/drawing/2014/main" id="{5BF2811A-875B-4EC0-8745-F20380483AF4}"/>
              </a:ext>
            </a:extLst>
          </p:cNvPr>
          <p:cNvSpPr/>
          <p:nvPr/>
        </p:nvSpPr>
        <p:spPr>
          <a:xfrm>
            <a:off x="-14287" y="-18288"/>
            <a:ext cx="3899820" cy="6878709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78783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78783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78783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78783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43698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6255328 w 11367745"/>
              <a:gd name="connsiteY2" fmla="*/ 5041232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5448360 w 11367745"/>
              <a:gd name="connsiteY2" fmla="*/ 4728411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5448360 w 11367745"/>
              <a:gd name="connsiteY2" fmla="*/ 4728411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5448360 w 11367745"/>
              <a:gd name="connsiteY2" fmla="*/ 4728411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5448360 w 11367745"/>
              <a:gd name="connsiteY2" fmla="*/ 4728411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0 h 6884988"/>
              <a:gd name="connsiteX1" fmla="*/ 11367745 w 11367745"/>
              <a:gd name="connsiteY1" fmla="*/ 7846 h 6884988"/>
              <a:gd name="connsiteX2" fmla="*/ 5448360 w 11367745"/>
              <a:gd name="connsiteY2" fmla="*/ 4736257 h 6884988"/>
              <a:gd name="connsiteX3" fmla="*/ 6808614 w 11367745"/>
              <a:gd name="connsiteY3" fmla="*/ 6884988 h 6884988"/>
              <a:gd name="connsiteX4" fmla="*/ 0 w 11367745"/>
              <a:gd name="connsiteY4" fmla="*/ 6877878 h 6884988"/>
              <a:gd name="connsiteX5" fmla="*/ 0 w 11367745"/>
              <a:gd name="connsiteY5" fmla="*/ 0 h 6884988"/>
              <a:gd name="connsiteX0" fmla="*/ 0 w 11367745"/>
              <a:gd name="connsiteY0" fmla="*/ 0 h 6881813"/>
              <a:gd name="connsiteX1" fmla="*/ 11367745 w 11367745"/>
              <a:gd name="connsiteY1" fmla="*/ 4671 h 6881813"/>
              <a:gd name="connsiteX2" fmla="*/ 5448360 w 11367745"/>
              <a:gd name="connsiteY2" fmla="*/ 4733082 h 6881813"/>
              <a:gd name="connsiteX3" fmla="*/ 6808614 w 11367745"/>
              <a:gd name="connsiteY3" fmla="*/ 6881813 h 6881813"/>
              <a:gd name="connsiteX4" fmla="*/ 0 w 11367745"/>
              <a:gd name="connsiteY4" fmla="*/ 6874703 h 6881813"/>
              <a:gd name="connsiteX5" fmla="*/ 0 w 11367745"/>
              <a:gd name="connsiteY5" fmla="*/ 0 h 6881813"/>
              <a:gd name="connsiteX0" fmla="*/ 0 w 11330710"/>
              <a:gd name="connsiteY0" fmla="*/ 0 h 6881813"/>
              <a:gd name="connsiteX1" fmla="*/ 11330710 w 11330710"/>
              <a:gd name="connsiteY1" fmla="*/ 7846 h 6881813"/>
              <a:gd name="connsiteX2" fmla="*/ 5448360 w 11330710"/>
              <a:gd name="connsiteY2" fmla="*/ 4733082 h 6881813"/>
              <a:gd name="connsiteX3" fmla="*/ 6808614 w 11330710"/>
              <a:gd name="connsiteY3" fmla="*/ 6881813 h 6881813"/>
              <a:gd name="connsiteX4" fmla="*/ 0 w 11330710"/>
              <a:gd name="connsiteY4" fmla="*/ 6874703 h 6881813"/>
              <a:gd name="connsiteX5" fmla="*/ 0 w 11330710"/>
              <a:gd name="connsiteY5" fmla="*/ 0 h 6881813"/>
              <a:gd name="connsiteX0" fmla="*/ 0 w 11330710"/>
              <a:gd name="connsiteY0" fmla="*/ 0 h 6884236"/>
              <a:gd name="connsiteX1" fmla="*/ 11330710 w 11330710"/>
              <a:gd name="connsiteY1" fmla="*/ 7846 h 6884236"/>
              <a:gd name="connsiteX2" fmla="*/ 5448360 w 11330710"/>
              <a:gd name="connsiteY2" fmla="*/ 4733082 h 6884236"/>
              <a:gd name="connsiteX3" fmla="*/ 6808614 w 11330710"/>
              <a:gd name="connsiteY3" fmla="*/ 6881813 h 6884236"/>
              <a:gd name="connsiteX4" fmla="*/ 13890 w 11330710"/>
              <a:gd name="connsiteY4" fmla="*/ 6884236 h 6884236"/>
              <a:gd name="connsiteX5" fmla="*/ 0 w 11330710"/>
              <a:gd name="connsiteY5" fmla="*/ 0 h 6884236"/>
              <a:gd name="connsiteX0" fmla="*/ 41666 w 11372376"/>
              <a:gd name="connsiteY0" fmla="*/ 0 h 6884236"/>
              <a:gd name="connsiteX1" fmla="*/ 11372376 w 11372376"/>
              <a:gd name="connsiteY1" fmla="*/ 7846 h 6884236"/>
              <a:gd name="connsiteX2" fmla="*/ 5490026 w 11372376"/>
              <a:gd name="connsiteY2" fmla="*/ 4733082 h 6884236"/>
              <a:gd name="connsiteX3" fmla="*/ 6850280 w 11372376"/>
              <a:gd name="connsiteY3" fmla="*/ 6881813 h 6884236"/>
              <a:gd name="connsiteX4" fmla="*/ 0 w 11372376"/>
              <a:gd name="connsiteY4" fmla="*/ 6884236 h 6884236"/>
              <a:gd name="connsiteX5" fmla="*/ 41666 w 11372376"/>
              <a:gd name="connsiteY5" fmla="*/ 0 h 6884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372376" h="6884236">
                <a:moveTo>
                  <a:pt x="41666" y="0"/>
                </a:moveTo>
                <a:lnTo>
                  <a:pt x="11372376" y="7846"/>
                </a:lnTo>
                <a:cubicBezTo>
                  <a:pt x="9498349" y="1580337"/>
                  <a:pt x="6993185" y="3536487"/>
                  <a:pt x="5490026" y="4733082"/>
                </a:cubicBezTo>
                <a:cubicBezTo>
                  <a:pt x="6389486" y="6085357"/>
                  <a:pt x="5797526" y="5478676"/>
                  <a:pt x="6850280" y="6881813"/>
                </a:cubicBezTo>
                <a:lnTo>
                  <a:pt x="0" y="6884236"/>
                </a:lnTo>
                <a:lnTo>
                  <a:pt x="41666" y="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27830A9A-410E-421B-AA5B-8169539B9CFA}"/>
              </a:ext>
            </a:extLst>
          </p:cNvPr>
          <p:cNvSpPr/>
          <p:nvPr/>
        </p:nvSpPr>
        <p:spPr>
          <a:xfrm>
            <a:off x="0" y="4081706"/>
            <a:ext cx="2608941" cy="2788159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6989" h="1213426">
                <a:moveTo>
                  <a:pt x="857693" y="0"/>
                </a:moveTo>
                <a:lnTo>
                  <a:pt x="1166989" y="1211531"/>
                </a:lnTo>
                <a:lnTo>
                  <a:pt x="0" y="1213426"/>
                </a:lnTo>
              </a:path>
            </a:pathLst>
          </a:custGeom>
          <a:gradFill>
            <a:gsLst>
              <a:gs pos="2000">
                <a:schemeClr val="bg2">
                  <a:lumMod val="50000"/>
                </a:schemeClr>
              </a:gs>
              <a:gs pos="100000">
                <a:schemeClr val="bg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Isosceles Triangle 3">
            <a:extLst>
              <a:ext uri="{FF2B5EF4-FFF2-40B4-BE49-F238E27FC236}">
                <a16:creationId xmlns:a16="http://schemas.microsoft.com/office/drawing/2014/main" id="{2025ACE9-F47A-4527-8430-4157B53FF113}"/>
              </a:ext>
            </a:extLst>
          </p:cNvPr>
          <p:cNvSpPr/>
          <p:nvPr/>
        </p:nvSpPr>
        <p:spPr>
          <a:xfrm rot="13120470">
            <a:off x="1652540" y="-1700406"/>
            <a:ext cx="2118669" cy="9418262"/>
          </a:xfrm>
          <a:custGeom>
            <a:avLst/>
            <a:gdLst>
              <a:gd name="connsiteX0" fmla="*/ 0 w 1349298"/>
              <a:gd name="connsiteY0" fmla="*/ 5885253 h 5885253"/>
              <a:gd name="connsiteX1" fmla="*/ 674649 w 1349298"/>
              <a:gd name="connsiteY1" fmla="*/ 0 h 5885253"/>
              <a:gd name="connsiteX2" fmla="*/ 1349298 w 1349298"/>
              <a:gd name="connsiteY2" fmla="*/ 5885253 h 5885253"/>
              <a:gd name="connsiteX3" fmla="*/ 0 w 1349298"/>
              <a:gd name="connsiteY3" fmla="*/ 5885253 h 5885253"/>
              <a:gd name="connsiteX0" fmla="*/ 0 w 1304760"/>
              <a:gd name="connsiteY0" fmla="*/ 5885253 h 5885253"/>
              <a:gd name="connsiteX1" fmla="*/ 674649 w 1304760"/>
              <a:gd name="connsiteY1" fmla="*/ 0 h 5885253"/>
              <a:gd name="connsiteX2" fmla="*/ 1304760 w 1304760"/>
              <a:gd name="connsiteY2" fmla="*/ 5698299 h 5885253"/>
              <a:gd name="connsiteX3" fmla="*/ 0 w 1304760"/>
              <a:gd name="connsiteY3" fmla="*/ 5885253 h 5885253"/>
              <a:gd name="connsiteX0" fmla="*/ 0 w 1386992"/>
              <a:gd name="connsiteY0" fmla="*/ 5829786 h 5829786"/>
              <a:gd name="connsiteX1" fmla="*/ 756881 w 1386992"/>
              <a:gd name="connsiteY1" fmla="*/ 0 h 5829786"/>
              <a:gd name="connsiteX2" fmla="*/ 1386992 w 1386992"/>
              <a:gd name="connsiteY2" fmla="*/ 5698299 h 5829786"/>
              <a:gd name="connsiteX3" fmla="*/ 0 w 1386992"/>
              <a:gd name="connsiteY3" fmla="*/ 5829786 h 5829786"/>
              <a:gd name="connsiteX0" fmla="*/ 0 w 1613616"/>
              <a:gd name="connsiteY0" fmla="*/ 5273942 h 5698299"/>
              <a:gd name="connsiteX1" fmla="*/ 983505 w 1613616"/>
              <a:gd name="connsiteY1" fmla="*/ 0 h 5698299"/>
              <a:gd name="connsiteX2" fmla="*/ 1613616 w 1613616"/>
              <a:gd name="connsiteY2" fmla="*/ 5698299 h 5698299"/>
              <a:gd name="connsiteX3" fmla="*/ 0 w 1613616"/>
              <a:gd name="connsiteY3" fmla="*/ 5273942 h 5698299"/>
              <a:gd name="connsiteX0" fmla="*/ 0 w 2111499"/>
              <a:gd name="connsiteY0" fmla="*/ 5273942 h 5273942"/>
              <a:gd name="connsiteX1" fmla="*/ 983505 w 2111499"/>
              <a:gd name="connsiteY1" fmla="*/ 0 h 5273942"/>
              <a:gd name="connsiteX2" fmla="*/ 2111499 w 2111499"/>
              <a:gd name="connsiteY2" fmla="*/ 4721711 h 5273942"/>
              <a:gd name="connsiteX3" fmla="*/ 0 w 2111499"/>
              <a:gd name="connsiteY3" fmla="*/ 5273942 h 5273942"/>
              <a:gd name="connsiteX0" fmla="*/ 0 w 2111499"/>
              <a:gd name="connsiteY0" fmla="*/ 4717306 h 4717306"/>
              <a:gd name="connsiteX1" fmla="*/ 932758 w 2111499"/>
              <a:gd name="connsiteY1" fmla="*/ 0 h 4717306"/>
              <a:gd name="connsiteX2" fmla="*/ 2111499 w 2111499"/>
              <a:gd name="connsiteY2" fmla="*/ 4165075 h 4717306"/>
              <a:gd name="connsiteX3" fmla="*/ 0 w 2111499"/>
              <a:gd name="connsiteY3" fmla="*/ 4717306 h 4717306"/>
              <a:gd name="connsiteX0" fmla="*/ 0 w 3931298"/>
              <a:gd name="connsiteY0" fmla="*/ 4717306 h 4717306"/>
              <a:gd name="connsiteX1" fmla="*/ 932758 w 3931298"/>
              <a:gd name="connsiteY1" fmla="*/ 0 h 4717306"/>
              <a:gd name="connsiteX2" fmla="*/ 3931298 w 3931298"/>
              <a:gd name="connsiteY2" fmla="*/ 4480286 h 4717306"/>
              <a:gd name="connsiteX3" fmla="*/ 0 w 3931298"/>
              <a:gd name="connsiteY3" fmla="*/ 4717306 h 4717306"/>
              <a:gd name="connsiteX0" fmla="*/ 35679 w 2998540"/>
              <a:gd name="connsiteY0" fmla="*/ 5024381 h 5024381"/>
              <a:gd name="connsiteX1" fmla="*/ 0 w 2998540"/>
              <a:gd name="connsiteY1" fmla="*/ 0 h 5024381"/>
              <a:gd name="connsiteX2" fmla="*/ 2998540 w 2998540"/>
              <a:gd name="connsiteY2" fmla="*/ 4480286 h 5024381"/>
              <a:gd name="connsiteX3" fmla="*/ 35679 w 2998540"/>
              <a:gd name="connsiteY3" fmla="*/ 5024381 h 5024381"/>
              <a:gd name="connsiteX0" fmla="*/ 0 w 3359513"/>
              <a:gd name="connsiteY0" fmla="*/ 4923649 h 4923649"/>
              <a:gd name="connsiteX1" fmla="*/ 360973 w 3359513"/>
              <a:gd name="connsiteY1" fmla="*/ 0 h 4923649"/>
              <a:gd name="connsiteX2" fmla="*/ 3359513 w 3359513"/>
              <a:gd name="connsiteY2" fmla="*/ 4480286 h 4923649"/>
              <a:gd name="connsiteX3" fmla="*/ 0 w 3359513"/>
              <a:gd name="connsiteY3" fmla="*/ 4923649 h 4923649"/>
              <a:gd name="connsiteX0" fmla="*/ 0 w 3359513"/>
              <a:gd name="connsiteY0" fmla="*/ 4137435 h 4137435"/>
              <a:gd name="connsiteX1" fmla="*/ 1823306 w 3359513"/>
              <a:gd name="connsiteY1" fmla="*/ 0 h 4137435"/>
              <a:gd name="connsiteX2" fmla="*/ 3359513 w 3359513"/>
              <a:gd name="connsiteY2" fmla="*/ 3694072 h 4137435"/>
              <a:gd name="connsiteX3" fmla="*/ 0 w 3359513"/>
              <a:gd name="connsiteY3" fmla="*/ 4137435 h 4137435"/>
              <a:gd name="connsiteX0" fmla="*/ 0 w 3163954"/>
              <a:gd name="connsiteY0" fmla="*/ 4137435 h 4137435"/>
              <a:gd name="connsiteX1" fmla="*/ 1823306 w 3163954"/>
              <a:gd name="connsiteY1" fmla="*/ 0 h 4137435"/>
              <a:gd name="connsiteX2" fmla="*/ 3163954 w 3163954"/>
              <a:gd name="connsiteY2" fmla="*/ 3451242 h 4137435"/>
              <a:gd name="connsiteX3" fmla="*/ 0 w 3163954"/>
              <a:gd name="connsiteY3" fmla="*/ 4137435 h 4137435"/>
              <a:gd name="connsiteX0" fmla="*/ 0 w 2066613"/>
              <a:gd name="connsiteY0" fmla="*/ 4130703 h 4130703"/>
              <a:gd name="connsiteX1" fmla="*/ 725965 w 2066613"/>
              <a:gd name="connsiteY1" fmla="*/ 0 h 4130703"/>
              <a:gd name="connsiteX2" fmla="*/ 2066613 w 2066613"/>
              <a:gd name="connsiteY2" fmla="*/ 3451242 h 4130703"/>
              <a:gd name="connsiteX3" fmla="*/ 0 w 2066613"/>
              <a:gd name="connsiteY3" fmla="*/ 4130703 h 4130703"/>
              <a:gd name="connsiteX0" fmla="*/ 0 w 2119185"/>
              <a:gd name="connsiteY0" fmla="*/ 4203399 h 4203399"/>
              <a:gd name="connsiteX1" fmla="*/ 778537 w 2119185"/>
              <a:gd name="connsiteY1" fmla="*/ 0 h 4203399"/>
              <a:gd name="connsiteX2" fmla="*/ 2119185 w 2119185"/>
              <a:gd name="connsiteY2" fmla="*/ 3451242 h 4203399"/>
              <a:gd name="connsiteX3" fmla="*/ 0 w 2119185"/>
              <a:gd name="connsiteY3" fmla="*/ 4203399 h 4203399"/>
              <a:gd name="connsiteX0" fmla="*/ 0 w 2119185"/>
              <a:gd name="connsiteY0" fmla="*/ 4216619 h 4216619"/>
              <a:gd name="connsiteX1" fmla="*/ 816110 w 2119185"/>
              <a:gd name="connsiteY1" fmla="*/ 0 h 4216619"/>
              <a:gd name="connsiteX2" fmla="*/ 2119185 w 2119185"/>
              <a:gd name="connsiteY2" fmla="*/ 3464462 h 4216619"/>
              <a:gd name="connsiteX3" fmla="*/ 0 w 2119185"/>
              <a:gd name="connsiteY3" fmla="*/ 4216619 h 4216619"/>
              <a:gd name="connsiteX0" fmla="*/ 0 w 2119185"/>
              <a:gd name="connsiteY0" fmla="*/ 4184713 h 4184713"/>
              <a:gd name="connsiteX1" fmla="*/ 797400 w 2119185"/>
              <a:gd name="connsiteY1" fmla="*/ 0 h 4184713"/>
              <a:gd name="connsiteX2" fmla="*/ 2119185 w 2119185"/>
              <a:gd name="connsiteY2" fmla="*/ 3432556 h 4184713"/>
              <a:gd name="connsiteX3" fmla="*/ 0 w 2119185"/>
              <a:gd name="connsiteY3" fmla="*/ 4184713 h 4184713"/>
              <a:gd name="connsiteX0" fmla="*/ 0 w 2119185"/>
              <a:gd name="connsiteY0" fmla="*/ 4163102 h 4163102"/>
              <a:gd name="connsiteX1" fmla="*/ 807948 w 2119185"/>
              <a:gd name="connsiteY1" fmla="*/ 0 h 4163102"/>
              <a:gd name="connsiteX2" fmla="*/ 2119185 w 2119185"/>
              <a:gd name="connsiteY2" fmla="*/ 3410945 h 4163102"/>
              <a:gd name="connsiteX3" fmla="*/ 0 w 2119185"/>
              <a:gd name="connsiteY3" fmla="*/ 4163102 h 4163102"/>
              <a:gd name="connsiteX0" fmla="*/ 0 w 2123869"/>
              <a:gd name="connsiteY0" fmla="*/ 4163102 h 4163102"/>
              <a:gd name="connsiteX1" fmla="*/ 807948 w 2123869"/>
              <a:gd name="connsiteY1" fmla="*/ 0 h 4163102"/>
              <a:gd name="connsiteX2" fmla="*/ 2123869 w 2123869"/>
              <a:gd name="connsiteY2" fmla="*/ 3413517 h 4163102"/>
              <a:gd name="connsiteX3" fmla="*/ 0 w 2123869"/>
              <a:gd name="connsiteY3" fmla="*/ 4163102 h 4163102"/>
              <a:gd name="connsiteX0" fmla="*/ 0 w 2123869"/>
              <a:gd name="connsiteY0" fmla="*/ 4155313 h 4155313"/>
              <a:gd name="connsiteX1" fmla="*/ 785813 w 2123869"/>
              <a:gd name="connsiteY1" fmla="*/ 0 h 4155313"/>
              <a:gd name="connsiteX2" fmla="*/ 2123869 w 2123869"/>
              <a:gd name="connsiteY2" fmla="*/ 3405728 h 4155313"/>
              <a:gd name="connsiteX3" fmla="*/ 0 w 2123869"/>
              <a:gd name="connsiteY3" fmla="*/ 4155313 h 4155313"/>
              <a:gd name="connsiteX0" fmla="*/ 0 w 2123869"/>
              <a:gd name="connsiteY0" fmla="*/ 4147524 h 4147524"/>
              <a:gd name="connsiteX1" fmla="*/ 763677 w 2123869"/>
              <a:gd name="connsiteY1" fmla="*/ 0 h 4147524"/>
              <a:gd name="connsiteX2" fmla="*/ 2123869 w 2123869"/>
              <a:gd name="connsiteY2" fmla="*/ 3397939 h 4147524"/>
              <a:gd name="connsiteX3" fmla="*/ 0 w 2123869"/>
              <a:gd name="connsiteY3" fmla="*/ 4147524 h 4147524"/>
              <a:gd name="connsiteX0" fmla="*/ 0 w 2123869"/>
              <a:gd name="connsiteY0" fmla="*/ 4147524 h 4147524"/>
              <a:gd name="connsiteX1" fmla="*/ 763677 w 2123869"/>
              <a:gd name="connsiteY1" fmla="*/ 0 h 4147524"/>
              <a:gd name="connsiteX2" fmla="*/ 2123869 w 2123869"/>
              <a:gd name="connsiteY2" fmla="*/ 3397939 h 4147524"/>
              <a:gd name="connsiteX3" fmla="*/ 0 w 2123869"/>
              <a:gd name="connsiteY3" fmla="*/ 4147524 h 4147524"/>
              <a:gd name="connsiteX0" fmla="*/ 0 w 2115692"/>
              <a:gd name="connsiteY0" fmla="*/ 4141965 h 4141965"/>
              <a:gd name="connsiteX1" fmla="*/ 755500 w 2115692"/>
              <a:gd name="connsiteY1" fmla="*/ 0 h 4141965"/>
              <a:gd name="connsiteX2" fmla="*/ 2115692 w 2115692"/>
              <a:gd name="connsiteY2" fmla="*/ 3397939 h 4141965"/>
              <a:gd name="connsiteX3" fmla="*/ 0 w 2115692"/>
              <a:gd name="connsiteY3" fmla="*/ 4141965 h 4141965"/>
              <a:gd name="connsiteX0" fmla="*/ 0 w 2118669"/>
              <a:gd name="connsiteY0" fmla="*/ 4140331 h 4140331"/>
              <a:gd name="connsiteX1" fmla="*/ 758477 w 2118669"/>
              <a:gd name="connsiteY1" fmla="*/ 0 h 4140331"/>
              <a:gd name="connsiteX2" fmla="*/ 2118669 w 2118669"/>
              <a:gd name="connsiteY2" fmla="*/ 3397939 h 4140331"/>
              <a:gd name="connsiteX3" fmla="*/ 0 w 2118669"/>
              <a:gd name="connsiteY3" fmla="*/ 4140331 h 4140331"/>
              <a:gd name="connsiteX0" fmla="*/ 0 w 2118669"/>
              <a:gd name="connsiteY0" fmla="*/ 4140331 h 4140331"/>
              <a:gd name="connsiteX1" fmla="*/ 758477 w 2118669"/>
              <a:gd name="connsiteY1" fmla="*/ 0 h 4140331"/>
              <a:gd name="connsiteX2" fmla="*/ 2118669 w 2118669"/>
              <a:gd name="connsiteY2" fmla="*/ 3397939 h 4140331"/>
              <a:gd name="connsiteX3" fmla="*/ 0 w 2118669"/>
              <a:gd name="connsiteY3" fmla="*/ 4140331 h 4140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8669" h="4140331">
                <a:moveTo>
                  <a:pt x="0" y="4140331"/>
                </a:moveTo>
                <a:lnTo>
                  <a:pt x="758477" y="0"/>
                </a:lnTo>
                <a:lnTo>
                  <a:pt x="2118669" y="3397939"/>
                </a:lnTo>
                <a:cubicBezTo>
                  <a:pt x="1403517" y="3640500"/>
                  <a:pt x="706223" y="3892867"/>
                  <a:pt x="0" y="4140331"/>
                </a:cubicBezTo>
                <a:close/>
              </a:path>
            </a:pathLst>
          </a:custGeom>
          <a:gradFill>
            <a:gsLst>
              <a:gs pos="2000">
                <a:schemeClr val="bg2">
                  <a:lumMod val="75000"/>
                </a:schemeClr>
              </a:gs>
              <a:gs pos="100000">
                <a:schemeClr val="bg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2406316" y="0"/>
            <a:ext cx="9803732" cy="6865374"/>
          </a:xfrm>
          <a:custGeom>
            <a:avLst/>
            <a:gdLst>
              <a:gd name="connsiteX0" fmla="*/ 0 w 12192000"/>
              <a:gd name="connsiteY0" fmla="*/ 6858000 h 6858000"/>
              <a:gd name="connsiteX1" fmla="*/ 1714500 w 12192000"/>
              <a:gd name="connsiteY1" fmla="*/ 0 h 6858000"/>
              <a:gd name="connsiteX2" fmla="*/ 12192000 w 12192000"/>
              <a:gd name="connsiteY2" fmla="*/ 0 h 6858000"/>
              <a:gd name="connsiteX3" fmla="*/ 10477500 w 12192000"/>
              <a:gd name="connsiteY3" fmla="*/ 6858000 h 6858000"/>
              <a:gd name="connsiteX4" fmla="*/ 0 w 12192000"/>
              <a:gd name="connsiteY4" fmla="*/ 6858000 h 6858000"/>
              <a:gd name="connsiteX0" fmla="*/ 0 w 12192000"/>
              <a:gd name="connsiteY0" fmla="*/ 6874042 h 6874042"/>
              <a:gd name="connsiteX1" fmla="*/ 4184985 w 12192000"/>
              <a:gd name="connsiteY1" fmla="*/ 0 h 6874042"/>
              <a:gd name="connsiteX2" fmla="*/ 12192000 w 12192000"/>
              <a:gd name="connsiteY2" fmla="*/ 16042 h 6874042"/>
              <a:gd name="connsiteX3" fmla="*/ 10477500 w 12192000"/>
              <a:gd name="connsiteY3" fmla="*/ 6874042 h 6874042"/>
              <a:gd name="connsiteX4" fmla="*/ 0 w 12192000"/>
              <a:gd name="connsiteY4" fmla="*/ 6874042 h 6874042"/>
              <a:gd name="connsiteX0" fmla="*/ 0 w 12192000"/>
              <a:gd name="connsiteY0" fmla="*/ 6874042 h 6874042"/>
              <a:gd name="connsiteX1" fmla="*/ 3705726 w 12192000"/>
              <a:gd name="connsiteY1" fmla="*/ 818147 h 6874042"/>
              <a:gd name="connsiteX2" fmla="*/ 4184985 w 12192000"/>
              <a:gd name="connsiteY2" fmla="*/ 0 h 6874042"/>
              <a:gd name="connsiteX3" fmla="*/ 12192000 w 12192000"/>
              <a:gd name="connsiteY3" fmla="*/ 16042 h 6874042"/>
              <a:gd name="connsiteX4" fmla="*/ 10477500 w 12192000"/>
              <a:gd name="connsiteY4" fmla="*/ 6874042 h 6874042"/>
              <a:gd name="connsiteX5" fmla="*/ 0 w 12192000"/>
              <a:gd name="connsiteY5" fmla="*/ 6874042 h 6874042"/>
              <a:gd name="connsiteX0" fmla="*/ 0 w 12192000"/>
              <a:gd name="connsiteY0" fmla="*/ 6874042 h 6874042"/>
              <a:gd name="connsiteX1" fmla="*/ 2422358 w 12192000"/>
              <a:gd name="connsiteY1" fmla="*/ 4251158 h 6874042"/>
              <a:gd name="connsiteX2" fmla="*/ 4184985 w 12192000"/>
              <a:gd name="connsiteY2" fmla="*/ 0 h 6874042"/>
              <a:gd name="connsiteX3" fmla="*/ 12192000 w 12192000"/>
              <a:gd name="connsiteY3" fmla="*/ 16042 h 6874042"/>
              <a:gd name="connsiteX4" fmla="*/ 10477500 w 12192000"/>
              <a:gd name="connsiteY4" fmla="*/ 6874042 h 6874042"/>
              <a:gd name="connsiteX5" fmla="*/ 0 w 12192000"/>
              <a:gd name="connsiteY5" fmla="*/ 6874042 h 6874042"/>
              <a:gd name="connsiteX0" fmla="*/ 0 w 12192000"/>
              <a:gd name="connsiteY0" fmla="*/ 6858000 h 6858000"/>
              <a:gd name="connsiteX1" fmla="*/ 2422358 w 12192000"/>
              <a:gd name="connsiteY1" fmla="*/ 4235116 h 6858000"/>
              <a:gd name="connsiteX2" fmla="*/ 4810627 w 12192000"/>
              <a:gd name="connsiteY2" fmla="*/ 0 h 6858000"/>
              <a:gd name="connsiteX3" fmla="*/ 12192000 w 12192000"/>
              <a:gd name="connsiteY3" fmla="*/ 0 h 6858000"/>
              <a:gd name="connsiteX4" fmla="*/ 10477500 w 12192000"/>
              <a:gd name="connsiteY4" fmla="*/ 6858000 h 6858000"/>
              <a:gd name="connsiteX5" fmla="*/ 0 w 12192000"/>
              <a:gd name="connsiteY5" fmla="*/ 6858000 h 6858000"/>
              <a:gd name="connsiteX0" fmla="*/ 0 w 12192000"/>
              <a:gd name="connsiteY0" fmla="*/ 6858000 h 6858000"/>
              <a:gd name="connsiteX1" fmla="*/ 2406315 w 12192000"/>
              <a:gd name="connsiteY1" fmla="*/ 4106779 h 6858000"/>
              <a:gd name="connsiteX2" fmla="*/ 4810627 w 12192000"/>
              <a:gd name="connsiteY2" fmla="*/ 0 h 6858000"/>
              <a:gd name="connsiteX3" fmla="*/ 12192000 w 12192000"/>
              <a:gd name="connsiteY3" fmla="*/ 0 h 6858000"/>
              <a:gd name="connsiteX4" fmla="*/ 10477500 w 12192000"/>
              <a:gd name="connsiteY4" fmla="*/ 6858000 h 6858000"/>
              <a:gd name="connsiteX5" fmla="*/ 0 w 12192000"/>
              <a:gd name="connsiteY5" fmla="*/ 6858000 h 6858000"/>
              <a:gd name="connsiteX0" fmla="*/ 224590 w 9785685"/>
              <a:gd name="connsiteY0" fmla="*/ 6858000 h 6858000"/>
              <a:gd name="connsiteX1" fmla="*/ 0 w 9785685"/>
              <a:gd name="connsiteY1" fmla="*/ 4106779 h 6858000"/>
              <a:gd name="connsiteX2" fmla="*/ 2404312 w 9785685"/>
              <a:gd name="connsiteY2" fmla="*/ 0 h 6858000"/>
              <a:gd name="connsiteX3" fmla="*/ 9785685 w 9785685"/>
              <a:gd name="connsiteY3" fmla="*/ 0 h 6858000"/>
              <a:gd name="connsiteX4" fmla="*/ 8071185 w 9785685"/>
              <a:gd name="connsiteY4" fmla="*/ 6858000 h 6858000"/>
              <a:gd name="connsiteX5" fmla="*/ 224590 w 9785685"/>
              <a:gd name="connsiteY5" fmla="*/ 6858000 h 6858000"/>
              <a:gd name="connsiteX0" fmla="*/ 224590 w 9803732"/>
              <a:gd name="connsiteY0" fmla="*/ 6858000 h 6858000"/>
              <a:gd name="connsiteX1" fmla="*/ 0 w 9803732"/>
              <a:gd name="connsiteY1" fmla="*/ 4106779 h 6858000"/>
              <a:gd name="connsiteX2" fmla="*/ 2404312 w 9803732"/>
              <a:gd name="connsiteY2" fmla="*/ 0 h 6858000"/>
              <a:gd name="connsiteX3" fmla="*/ 9785685 w 9803732"/>
              <a:gd name="connsiteY3" fmla="*/ 0 h 6858000"/>
              <a:gd name="connsiteX4" fmla="*/ 9803732 w 9803732"/>
              <a:gd name="connsiteY4" fmla="*/ 6858000 h 6858000"/>
              <a:gd name="connsiteX5" fmla="*/ 224590 w 9803732"/>
              <a:gd name="connsiteY5" fmla="*/ 6858000 h 6858000"/>
              <a:gd name="connsiteX0" fmla="*/ 197295 w 9803732"/>
              <a:gd name="connsiteY0" fmla="*/ 6858000 h 6858000"/>
              <a:gd name="connsiteX1" fmla="*/ 0 w 9803732"/>
              <a:gd name="connsiteY1" fmla="*/ 4106779 h 6858000"/>
              <a:gd name="connsiteX2" fmla="*/ 2404312 w 9803732"/>
              <a:gd name="connsiteY2" fmla="*/ 0 h 6858000"/>
              <a:gd name="connsiteX3" fmla="*/ 9785685 w 9803732"/>
              <a:gd name="connsiteY3" fmla="*/ 0 h 6858000"/>
              <a:gd name="connsiteX4" fmla="*/ 9803732 w 9803732"/>
              <a:gd name="connsiteY4" fmla="*/ 6858000 h 6858000"/>
              <a:gd name="connsiteX5" fmla="*/ 197295 w 9803732"/>
              <a:gd name="connsiteY5" fmla="*/ 6858000 h 6858000"/>
              <a:gd name="connsiteX0" fmla="*/ 197295 w 9803732"/>
              <a:gd name="connsiteY0" fmla="*/ 6865374 h 6865374"/>
              <a:gd name="connsiteX1" fmla="*/ 0 w 9803732"/>
              <a:gd name="connsiteY1" fmla="*/ 4106779 h 6865374"/>
              <a:gd name="connsiteX2" fmla="*/ 2404312 w 9803732"/>
              <a:gd name="connsiteY2" fmla="*/ 0 h 6865374"/>
              <a:gd name="connsiteX3" fmla="*/ 9785685 w 9803732"/>
              <a:gd name="connsiteY3" fmla="*/ 0 h 6865374"/>
              <a:gd name="connsiteX4" fmla="*/ 9803732 w 9803732"/>
              <a:gd name="connsiteY4" fmla="*/ 6858000 h 6865374"/>
              <a:gd name="connsiteX5" fmla="*/ 197295 w 9803732"/>
              <a:gd name="connsiteY5" fmla="*/ 6865374 h 6865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03732" h="6865374">
                <a:moveTo>
                  <a:pt x="197295" y="6865374"/>
                </a:moveTo>
                <a:lnTo>
                  <a:pt x="0" y="4106779"/>
                </a:lnTo>
                <a:lnTo>
                  <a:pt x="2404312" y="0"/>
                </a:lnTo>
                <a:lnTo>
                  <a:pt x="9785685" y="0"/>
                </a:lnTo>
                <a:cubicBezTo>
                  <a:pt x="9791701" y="2286000"/>
                  <a:pt x="9797716" y="4572000"/>
                  <a:pt x="9803732" y="6858000"/>
                </a:cubicBezTo>
                <a:lnTo>
                  <a:pt x="197295" y="6865374"/>
                </a:lnTo>
                <a:close/>
              </a:path>
            </a:pathLst>
          </a:custGeom>
          <a:noFill/>
        </p:spPr>
        <p:txBody>
          <a:bodyPr bIns="548640" anchor="ctr"/>
          <a:lstStyle>
            <a:lvl1pPr marL="0" indent="0" algn="ctr">
              <a:buNone/>
              <a:defRPr sz="16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FD6E0B0-89DB-42DE-9D50-C072DC4DCA4F}"/>
              </a:ext>
            </a:extLst>
          </p:cNvPr>
          <p:cNvGrpSpPr/>
          <p:nvPr/>
        </p:nvGrpSpPr>
        <p:grpSpPr>
          <a:xfrm>
            <a:off x="1" y="-442088"/>
            <a:ext cx="3898232" cy="7312120"/>
            <a:chOff x="1" y="-442088"/>
            <a:chExt cx="3898232" cy="731212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8DAD46A-C267-4F1E-9B70-7548D58BC129}"/>
                </a:ext>
              </a:extLst>
            </p:cNvPr>
            <p:cNvGrpSpPr/>
            <p:nvPr/>
          </p:nvGrpSpPr>
          <p:grpSpPr>
            <a:xfrm>
              <a:off x="1" y="-12032"/>
              <a:ext cx="3898232" cy="6882064"/>
              <a:chOff x="1" y="-12032"/>
              <a:chExt cx="3898232" cy="6882064"/>
            </a:xfrm>
          </p:grpSpPr>
          <p:sp>
            <p:nvSpPr>
              <p:cNvPr id="10" name="Rectangle 4">
                <a:extLst>
                  <a:ext uri="{FF2B5EF4-FFF2-40B4-BE49-F238E27FC236}">
                    <a16:creationId xmlns:a16="http://schemas.microsoft.com/office/drawing/2014/main" id="{0A292985-5E5C-4C2B-95EA-E7AFEDDBDBAF}"/>
                  </a:ext>
                </a:extLst>
              </p:cNvPr>
              <p:cNvSpPr/>
              <p:nvPr/>
            </p:nvSpPr>
            <p:spPr>
              <a:xfrm>
                <a:off x="1" y="-12032"/>
                <a:ext cx="3898232" cy="6877142"/>
              </a:xfrm>
              <a:custGeom>
                <a:avLst/>
                <a:gdLst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8385464 w 8385464"/>
                  <a:gd name="connsiteY2" fmla="*/ 6858000 h 6858000"/>
                  <a:gd name="connsiteX3" fmla="*/ 0 w 8385464"/>
                  <a:gd name="connsiteY3" fmla="*/ 6858000 h 6858000"/>
                  <a:gd name="connsiteX4" fmla="*/ 0 w 8385464"/>
                  <a:gd name="connsiteY4" fmla="*/ 0 h 6858000"/>
                  <a:gd name="connsiteX0" fmla="*/ 0 w 8395855"/>
                  <a:gd name="connsiteY0" fmla="*/ 0 h 6858000"/>
                  <a:gd name="connsiteX1" fmla="*/ 8385464 w 8395855"/>
                  <a:gd name="connsiteY1" fmla="*/ 0 h 6858000"/>
                  <a:gd name="connsiteX2" fmla="*/ 8395855 w 8395855"/>
                  <a:gd name="connsiteY2" fmla="*/ 3408218 h 6858000"/>
                  <a:gd name="connsiteX3" fmla="*/ 8385464 w 8395855"/>
                  <a:gd name="connsiteY3" fmla="*/ 6858000 h 6858000"/>
                  <a:gd name="connsiteX4" fmla="*/ 0 w 8395855"/>
                  <a:gd name="connsiteY4" fmla="*/ 6858000 h 6858000"/>
                  <a:gd name="connsiteX5" fmla="*/ 0 w 8395855"/>
                  <a:gd name="connsiteY5" fmla="*/ 0 h 6858000"/>
                  <a:gd name="connsiteX0" fmla="*/ 0 w 8385468"/>
                  <a:gd name="connsiteY0" fmla="*/ 0 h 6858000"/>
                  <a:gd name="connsiteX1" fmla="*/ 8385464 w 8385468"/>
                  <a:gd name="connsiteY1" fmla="*/ 0 h 6858000"/>
                  <a:gd name="connsiteX2" fmla="*/ 6286501 w 8385468"/>
                  <a:gd name="connsiteY2" fmla="*/ 3512127 h 6858000"/>
                  <a:gd name="connsiteX3" fmla="*/ 8385464 w 8385468"/>
                  <a:gd name="connsiteY3" fmla="*/ 6858000 h 6858000"/>
                  <a:gd name="connsiteX4" fmla="*/ 0 w 8385468"/>
                  <a:gd name="connsiteY4" fmla="*/ 6858000 h 6858000"/>
                  <a:gd name="connsiteX5" fmla="*/ 0 w 8385468"/>
                  <a:gd name="connsiteY5" fmla="*/ 0 h 6858000"/>
                  <a:gd name="connsiteX0" fmla="*/ 0 w 8385470"/>
                  <a:gd name="connsiteY0" fmla="*/ 0 h 6858000"/>
                  <a:gd name="connsiteX1" fmla="*/ 8385464 w 8385470"/>
                  <a:gd name="connsiteY1" fmla="*/ 0 h 6858000"/>
                  <a:gd name="connsiteX2" fmla="*/ 6993083 w 8385470"/>
                  <a:gd name="connsiteY2" fmla="*/ 3740727 h 6858000"/>
                  <a:gd name="connsiteX3" fmla="*/ 8385464 w 8385470"/>
                  <a:gd name="connsiteY3" fmla="*/ 6858000 h 6858000"/>
                  <a:gd name="connsiteX4" fmla="*/ 0 w 8385470"/>
                  <a:gd name="connsiteY4" fmla="*/ 6858000 h 6858000"/>
                  <a:gd name="connsiteX5" fmla="*/ 0 w 8385470"/>
                  <a:gd name="connsiteY5" fmla="*/ 0 h 6858000"/>
                  <a:gd name="connsiteX0" fmla="*/ 0 w 8385474"/>
                  <a:gd name="connsiteY0" fmla="*/ 0 h 6858000"/>
                  <a:gd name="connsiteX1" fmla="*/ 8385464 w 8385474"/>
                  <a:gd name="connsiteY1" fmla="*/ 0 h 6858000"/>
                  <a:gd name="connsiteX2" fmla="*/ 6993083 w 8385474"/>
                  <a:gd name="connsiteY2" fmla="*/ 3740727 h 6858000"/>
                  <a:gd name="connsiteX3" fmla="*/ 8385464 w 8385474"/>
                  <a:gd name="connsiteY3" fmla="*/ 6858000 h 6858000"/>
                  <a:gd name="connsiteX4" fmla="*/ 0 w 8385474"/>
                  <a:gd name="connsiteY4" fmla="*/ 6858000 h 6858000"/>
                  <a:gd name="connsiteX5" fmla="*/ 0 w 8385474"/>
                  <a:gd name="connsiteY5" fmla="*/ 0 h 6858000"/>
                  <a:gd name="connsiteX0" fmla="*/ 0 w 8385470"/>
                  <a:gd name="connsiteY0" fmla="*/ 0 h 6858000"/>
                  <a:gd name="connsiteX1" fmla="*/ 8385464 w 8385470"/>
                  <a:gd name="connsiteY1" fmla="*/ 0 h 6858000"/>
                  <a:gd name="connsiteX2" fmla="*/ 6993083 w 8385470"/>
                  <a:gd name="connsiteY2" fmla="*/ 3740727 h 6858000"/>
                  <a:gd name="connsiteX3" fmla="*/ 8385464 w 8385470"/>
                  <a:gd name="connsiteY3" fmla="*/ 6858000 h 6858000"/>
                  <a:gd name="connsiteX4" fmla="*/ 0 w 8385470"/>
                  <a:gd name="connsiteY4" fmla="*/ 6858000 h 6858000"/>
                  <a:gd name="connsiteX5" fmla="*/ 0 w 8385470"/>
                  <a:gd name="connsiteY5" fmla="*/ 0 h 6858000"/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6993083 w 8385464"/>
                  <a:gd name="connsiteY2" fmla="*/ 3740727 h 6858000"/>
                  <a:gd name="connsiteX3" fmla="*/ 8385464 w 8385464"/>
                  <a:gd name="connsiteY3" fmla="*/ 6858000 h 6858000"/>
                  <a:gd name="connsiteX4" fmla="*/ 0 w 8385464"/>
                  <a:gd name="connsiteY4" fmla="*/ 6858000 h 6858000"/>
                  <a:gd name="connsiteX5" fmla="*/ 0 w 8385464"/>
                  <a:gd name="connsiteY5" fmla="*/ 0 h 6858000"/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6993083 w 8385464"/>
                  <a:gd name="connsiteY2" fmla="*/ 3740727 h 6858000"/>
                  <a:gd name="connsiteX3" fmla="*/ 8385464 w 8385464"/>
                  <a:gd name="connsiteY3" fmla="*/ 6858000 h 6858000"/>
                  <a:gd name="connsiteX4" fmla="*/ 0 w 8385464"/>
                  <a:gd name="connsiteY4" fmla="*/ 6858000 h 6858000"/>
                  <a:gd name="connsiteX5" fmla="*/ 0 w 8385464"/>
                  <a:gd name="connsiteY5" fmla="*/ 0 h 6858000"/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6993083 w 8385464"/>
                  <a:gd name="connsiteY2" fmla="*/ 3740727 h 6858000"/>
                  <a:gd name="connsiteX3" fmla="*/ 8385464 w 8385464"/>
                  <a:gd name="connsiteY3" fmla="*/ 6858000 h 6858000"/>
                  <a:gd name="connsiteX4" fmla="*/ 0 w 8385464"/>
                  <a:gd name="connsiteY4" fmla="*/ 6858000 h 6858000"/>
                  <a:gd name="connsiteX5" fmla="*/ 0 w 8385464"/>
                  <a:gd name="connsiteY5" fmla="*/ 0 h 6858000"/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6286501 w 8385464"/>
                  <a:gd name="connsiteY2" fmla="*/ 4634345 h 6858000"/>
                  <a:gd name="connsiteX3" fmla="*/ 8385464 w 8385464"/>
                  <a:gd name="connsiteY3" fmla="*/ 6858000 h 6858000"/>
                  <a:gd name="connsiteX4" fmla="*/ 0 w 8385464"/>
                  <a:gd name="connsiteY4" fmla="*/ 6858000 h 6858000"/>
                  <a:gd name="connsiteX5" fmla="*/ 0 w 8385464"/>
                  <a:gd name="connsiteY5" fmla="*/ 0 h 6858000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86501 w 8385464"/>
                  <a:gd name="connsiteY2" fmla="*/ 4634345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55328 w 8385464"/>
                  <a:gd name="connsiteY2" fmla="*/ 5029200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55328 w 8385464"/>
                  <a:gd name="connsiteY2" fmla="*/ 5029200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55328 w 8385464"/>
                  <a:gd name="connsiteY2" fmla="*/ 5029200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55328 w 8385464"/>
                  <a:gd name="connsiteY2" fmla="*/ 5029200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78783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78783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78783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78783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43698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877142"/>
                  <a:gd name="connsiteX1" fmla="*/ 11367745 w 11367745"/>
                  <a:gd name="connsiteY1" fmla="*/ 0 h 6877142"/>
                  <a:gd name="connsiteX2" fmla="*/ 6255328 w 11367745"/>
                  <a:gd name="connsiteY2" fmla="*/ 5041232 h 6877142"/>
                  <a:gd name="connsiteX3" fmla="*/ 6808614 w 11367745"/>
                  <a:gd name="connsiteY3" fmla="*/ 6877142 h 6877142"/>
                  <a:gd name="connsiteX4" fmla="*/ 0 w 11367745"/>
                  <a:gd name="connsiteY4" fmla="*/ 6870032 h 6877142"/>
                  <a:gd name="connsiteX5" fmla="*/ 0 w 11367745"/>
                  <a:gd name="connsiteY5" fmla="*/ 12032 h 687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367745" h="6877142">
                    <a:moveTo>
                      <a:pt x="0" y="12032"/>
                    </a:moveTo>
                    <a:lnTo>
                      <a:pt x="11367745" y="0"/>
                    </a:lnTo>
                    <a:cubicBezTo>
                      <a:pt x="9493718" y="1572491"/>
                      <a:pt x="6951519" y="3543847"/>
                      <a:pt x="6255328" y="5041232"/>
                    </a:cubicBezTo>
                    <a:cubicBezTo>
                      <a:pt x="6698673" y="6357413"/>
                      <a:pt x="6282143" y="5425879"/>
                      <a:pt x="6808614" y="6877142"/>
                    </a:cubicBezTo>
                    <a:lnTo>
                      <a:pt x="0" y="6870032"/>
                    </a:lnTo>
                    <a:lnTo>
                      <a:pt x="0" y="12032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Right Triangle 3">
                <a:extLst>
                  <a:ext uri="{FF2B5EF4-FFF2-40B4-BE49-F238E27FC236}">
                    <a16:creationId xmlns:a16="http://schemas.microsoft.com/office/drawing/2014/main" id="{2DB7A5CE-51EF-49C1-B94D-157D5342D4EF}"/>
                  </a:ext>
                </a:extLst>
              </p:cNvPr>
              <p:cNvSpPr/>
              <p:nvPr/>
            </p:nvSpPr>
            <p:spPr>
              <a:xfrm flipH="1">
                <a:off x="819916" y="4242391"/>
                <a:ext cx="1505899" cy="2626242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5899" h="2626242">
                    <a:moveTo>
                      <a:pt x="350874" y="2626242"/>
                    </a:moveTo>
                    <a:lnTo>
                      <a:pt x="0" y="0"/>
                    </a:lnTo>
                    <a:lnTo>
                      <a:pt x="1505899" y="2626242"/>
                    </a:lnTo>
                    <a:lnTo>
                      <a:pt x="350874" y="2626242"/>
                    </a:lnTo>
                    <a:close/>
                  </a:path>
                </a:pathLst>
              </a:custGeom>
              <a:gradFill>
                <a:gsLst>
                  <a:gs pos="2000">
                    <a:srgbClr val="62B53F"/>
                  </a:gs>
                  <a:gs pos="52000">
                    <a:srgbClr val="529533"/>
                  </a:gs>
                </a:gsLst>
                <a:lin ang="14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ight Triangle 3">
                <a:extLst>
                  <a:ext uri="{FF2B5EF4-FFF2-40B4-BE49-F238E27FC236}">
                    <a16:creationId xmlns:a16="http://schemas.microsoft.com/office/drawing/2014/main" id="{BA4F80DB-7291-4740-A430-98D3FB012211}"/>
                  </a:ext>
                </a:extLst>
              </p:cNvPr>
              <p:cNvSpPr/>
              <p:nvPr/>
            </p:nvSpPr>
            <p:spPr>
              <a:xfrm>
                <a:off x="1636887" y="3818487"/>
                <a:ext cx="963639" cy="3051545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  <a:gd name="connsiteX0" fmla="*/ 0 w 1155025"/>
                  <a:gd name="connsiteY0" fmla="*/ 3051545 h 3051545"/>
                  <a:gd name="connsiteX1" fmla="*/ 733647 w 1155025"/>
                  <a:gd name="connsiteY1" fmla="*/ 0 h 3051545"/>
                  <a:gd name="connsiteX2" fmla="*/ 1155025 w 1155025"/>
                  <a:gd name="connsiteY2" fmla="*/ 3051545 h 3051545"/>
                  <a:gd name="connsiteX3" fmla="*/ 0 w 1155025"/>
                  <a:gd name="connsiteY3" fmla="*/ 3051545 h 3051545"/>
                  <a:gd name="connsiteX0" fmla="*/ 0 w 963639"/>
                  <a:gd name="connsiteY0" fmla="*/ 3051545 h 3051545"/>
                  <a:gd name="connsiteX1" fmla="*/ 733647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  <a:gd name="connsiteX0" fmla="*/ 0 w 963639"/>
                  <a:gd name="connsiteY0" fmla="*/ 3051545 h 3051545"/>
                  <a:gd name="connsiteX1" fmla="*/ 754912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3639" h="3051545">
                    <a:moveTo>
                      <a:pt x="0" y="3051545"/>
                    </a:moveTo>
                    <a:lnTo>
                      <a:pt x="754912" y="0"/>
                    </a:lnTo>
                    <a:lnTo>
                      <a:pt x="963639" y="3051545"/>
                    </a:lnTo>
                    <a:lnTo>
                      <a:pt x="0" y="3051545"/>
                    </a:lnTo>
                    <a:close/>
                  </a:path>
                </a:pathLst>
              </a:custGeom>
              <a:gradFill>
                <a:gsLst>
                  <a:gs pos="27000">
                    <a:srgbClr val="5EAC3E"/>
                  </a:gs>
                  <a:gs pos="64000">
                    <a:srgbClr val="67BD42"/>
                  </a:gs>
                </a:gsLst>
                <a:lin ang="7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7950B3B0-8A92-4C5E-B968-43BD35D262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3133" y="946483"/>
                <a:ext cx="2111973" cy="820275"/>
              </a:xfrm>
              <a:prstGeom prst="rect">
                <a:avLst/>
              </a:prstGeom>
            </p:spPr>
          </p:pic>
        </p:grp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2F14F70-9C54-43E1-82EA-D6E12FE88A86}"/>
                </a:ext>
              </a:extLst>
            </p:cNvPr>
            <p:cNvSpPr/>
            <p:nvPr/>
          </p:nvSpPr>
          <p:spPr>
            <a:xfrm rot="12173926">
              <a:off x="2705968" y="-442088"/>
              <a:ext cx="1014731" cy="597488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4731" h="5974885">
                  <a:moveTo>
                    <a:pt x="0" y="5974885"/>
                  </a:moveTo>
                  <a:lnTo>
                    <a:pt x="789755" y="0"/>
                  </a:lnTo>
                  <a:lnTo>
                    <a:pt x="1014731" y="5549329"/>
                  </a:lnTo>
                  <a:lnTo>
                    <a:pt x="0" y="5974885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 rot="16200000">
            <a:off x="5710902" y="360708"/>
            <a:ext cx="3197491" cy="9808237"/>
          </a:xfrm>
          <a:custGeom>
            <a:avLst/>
            <a:gdLst>
              <a:gd name="connsiteX0" fmla="*/ 0 w 3293259"/>
              <a:gd name="connsiteY0" fmla="*/ 12192000 h 12192000"/>
              <a:gd name="connsiteX1" fmla="*/ 823315 w 3293259"/>
              <a:gd name="connsiteY1" fmla="*/ 0 h 12192000"/>
              <a:gd name="connsiteX2" fmla="*/ 3293259 w 3293259"/>
              <a:gd name="connsiteY2" fmla="*/ 0 h 12192000"/>
              <a:gd name="connsiteX3" fmla="*/ 2469944 w 3293259"/>
              <a:gd name="connsiteY3" fmla="*/ 12192000 h 12192000"/>
              <a:gd name="connsiteX4" fmla="*/ 0 w 3293259"/>
              <a:gd name="connsiteY4" fmla="*/ 12192000 h 12192000"/>
              <a:gd name="connsiteX0" fmla="*/ 0 w 3180964"/>
              <a:gd name="connsiteY0" fmla="*/ 12192000 h 12192000"/>
              <a:gd name="connsiteX1" fmla="*/ 823315 w 3180964"/>
              <a:gd name="connsiteY1" fmla="*/ 0 h 12192000"/>
              <a:gd name="connsiteX2" fmla="*/ 3180964 w 3180964"/>
              <a:gd name="connsiteY2" fmla="*/ 2727158 h 12192000"/>
              <a:gd name="connsiteX3" fmla="*/ 2469944 w 3180964"/>
              <a:gd name="connsiteY3" fmla="*/ 12192000 h 12192000"/>
              <a:gd name="connsiteX4" fmla="*/ 0 w 3180964"/>
              <a:gd name="connsiteY4" fmla="*/ 12192000 h 12192000"/>
              <a:gd name="connsiteX0" fmla="*/ 0 w 3180964"/>
              <a:gd name="connsiteY0" fmla="*/ 12192000 h 12192000"/>
              <a:gd name="connsiteX1" fmla="*/ 823315 w 3180964"/>
              <a:gd name="connsiteY1" fmla="*/ 0 h 12192000"/>
              <a:gd name="connsiteX2" fmla="*/ 1845459 w 3180964"/>
              <a:gd name="connsiteY2" fmla="*/ 1155032 h 12192000"/>
              <a:gd name="connsiteX3" fmla="*/ 3180964 w 3180964"/>
              <a:gd name="connsiteY3" fmla="*/ 2727158 h 12192000"/>
              <a:gd name="connsiteX4" fmla="*/ 2469944 w 3180964"/>
              <a:gd name="connsiteY4" fmla="*/ 12192000 h 12192000"/>
              <a:gd name="connsiteX5" fmla="*/ 0 w 3180964"/>
              <a:gd name="connsiteY5" fmla="*/ 12192000 h 12192000"/>
              <a:gd name="connsiteX0" fmla="*/ 0 w 3180964"/>
              <a:gd name="connsiteY0" fmla="*/ 12192000 h 12192000"/>
              <a:gd name="connsiteX1" fmla="*/ 823315 w 3180964"/>
              <a:gd name="connsiteY1" fmla="*/ 0 h 12192000"/>
              <a:gd name="connsiteX2" fmla="*/ 2743817 w 3180964"/>
              <a:gd name="connsiteY2" fmla="*/ 2358190 h 12192000"/>
              <a:gd name="connsiteX3" fmla="*/ 3180964 w 3180964"/>
              <a:gd name="connsiteY3" fmla="*/ 2727158 h 12192000"/>
              <a:gd name="connsiteX4" fmla="*/ 2469944 w 3180964"/>
              <a:gd name="connsiteY4" fmla="*/ 12192000 h 12192000"/>
              <a:gd name="connsiteX5" fmla="*/ 0 w 3180964"/>
              <a:gd name="connsiteY5" fmla="*/ 12192000 h 12192000"/>
              <a:gd name="connsiteX0" fmla="*/ 26917 w 3207881"/>
              <a:gd name="connsiteY0" fmla="*/ 9833810 h 9833810"/>
              <a:gd name="connsiteX1" fmla="*/ 0 w 3207881"/>
              <a:gd name="connsiteY1" fmla="*/ 240631 h 9833810"/>
              <a:gd name="connsiteX2" fmla="*/ 2770734 w 3207881"/>
              <a:gd name="connsiteY2" fmla="*/ 0 h 9833810"/>
              <a:gd name="connsiteX3" fmla="*/ 3207881 w 3207881"/>
              <a:gd name="connsiteY3" fmla="*/ 368968 h 9833810"/>
              <a:gd name="connsiteX4" fmla="*/ 2496861 w 3207881"/>
              <a:gd name="connsiteY4" fmla="*/ 9833810 h 9833810"/>
              <a:gd name="connsiteX5" fmla="*/ 26917 w 3207881"/>
              <a:gd name="connsiteY5" fmla="*/ 9833810 h 9833810"/>
              <a:gd name="connsiteX0" fmla="*/ 26917 w 3218756"/>
              <a:gd name="connsiteY0" fmla="*/ 9833810 h 9833810"/>
              <a:gd name="connsiteX1" fmla="*/ 0 w 3218756"/>
              <a:gd name="connsiteY1" fmla="*/ 240631 h 9833810"/>
              <a:gd name="connsiteX2" fmla="*/ 2770734 w 3218756"/>
              <a:gd name="connsiteY2" fmla="*/ 0 h 9833810"/>
              <a:gd name="connsiteX3" fmla="*/ 3207881 w 3218756"/>
              <a:gd name="connsiteY3" fmla="*/ 368968 h 9833810"/>
              <a:gd name="connsiteX4" fmla="*/ 3218756 w 3218756"/>
              <a:gd name="connsiteY4" fmla="*/ 9801729 h 9833810"/>
              <a:gd name="connsiteX5" fmla="*/ 26917 w 3218756"/>
              <a:gd name="connsiteY5" fmla="*/ 9833810 h 9833810"/>
              <a:gd name="connsiteX0" fmla="*/ 26917 w 3218756"/>
              <a:gd name="connsiteY0" fmla="*/ 9833810 h 9833810"/>
              <a:gd name="connsiteX1" fmla="*/ 0 w 3218756"/>
              <a:gd name="connsiteY1" fmla="*/ 240631 h 9833810"/>
              <a:gd name="connsiteX2" fmla="*/ 2770734 w 3218756"/>
              <a:gd name="connsiteY2" fmla="*/ 0 h 9833810"/>
              <a:gd name="connsiteX3" fmla="*/ 3207881 w 3218756"/>
              <a:gd name="connsiteY3" fmla="*/ 304800 h 9833810"/>
              <a:gd name="connsiteX4" fmla="*/ 3218756 w 3218756"/>
              <a:gd name="connsiteY4" fmla="*/ 9801729 h 9833810"/>
              <a:gd name="connsiteX5" fmla="*/ 26917 w 3218756"/>
              <a:gd name="connsiteY5" fmla="*/ 9833810 h 9833810"/>
              <a:gd name="connsiteX0" fmla="*/ 26917 w 3218756"/>
              <a:gd name="connsiteY0" fmla="*/ 9769641 h 9769641"/>
              <a:gd name="connsiteX1" fmla="*/ 0 w 3218756"/>
              <a:gd name="connsiteY1" fmla="*/ 176462 h 9769641"/>
              <a:gd name="connsiteX2" fmla="*/ 2738650 w 3218756"/>
              <a:gd name="connsiteY2" fmla="*/ 0 h 9769641"/>
              <a:gd name="connsiteX3" fmla="*/ 3207881 w 3218756"/>
              <a:gd name="connsiteY3" fmla="*/ 240631 h 9769641"/>
              <a:gd name="connsiteX4" fmla="*/ 3218756 w 3218756"/>
              <a:gd name="connsiteY4" fmla="*/ 9737560 h 9769641"/>
              <a:gd name="connsiteX5" fmla="*/ 26917 w 3218756"/>
              <a:gd name="connsiteY5" fmla="*/ 9769641 h 9769641"/>
              <a:gd name="connsiteX0" fmla="*/ 26917 w 3218756"/>
              <a:gd name="connsiteY0" fmla="*/ 9780861 h 9780861"/>
              <a:gd name="connsiteX1" fmla="*/ 0 w 3218756"/>
              <a:gd name="connsiteY1" fmla="*/ 187682 h 9780861"/>
              <a:gd name="connsiteX2" fmla="*/ 2772309 w 3218756"/>
              <a:gd name="connsiteY2" fmla="*/ 0 h 9780861"/>
              <a:gd name="connsiteX3" fmla="*/ 3207881 w 3218756"/>
              <a:gd name="connsiteY3" fmla="*/ 251851 h 9780861"/>
              <a:gd name="connsiteX4" fmla="*/ 3218756 w 3218756"/>
              <a:gd name="connsiteY4" fmla="*/ 9748780 h 9780861"/>
              <a:gd name="connsiteX5" fmla="*/ 26917 w 3218756"/>
              <a:gd name="connsiteY5" fmla="*/ 9780861 h 9780861"/>
              <a:gd name="connsiteX0" fmla="*/ 5652 w 3197491"/>
              <a:gd name="connsiteY0" fmla="*/ 9780861 h 9780861"/>
              <a:gd name="connsiteX1" fmla="*/ 0 w 3197491"/>
              <a:gd name="connsiteY1" fmla="*/ 187685 h 9780861"/>
              <a:gd name="connsiteX2" fmla="*/ 2751044 w 3197491"/>
              <a:gd name="connsiteY2" fmla="*/ 0 h 9780861"/>
              <a:gd name="connsiteX3" fmla="*/ 3186616 w 3197491"/>
              <a:gd name="connsiteY3" fmla="*/ 251851 h 9780861"/>
              <a:gd name="connsiteX4" fmla="*/ 3197491 w 3197491"/>
              <a:gd name="connsiteY4" fmla="*/ 9748780 h 9780861"/>
              <a:gd name="connsiteX5" fmla="*/ 5652 w 3197491"/>
              <a:gd name="connsiteY5" fmla="*/ 9780861 h 9780861"/>
              <a:gd name="connsiteX0" fmla="*/ 11262 w 3203101"/>
              <a:gd name="connsiteY0" fmla="*/ 9780861 h 9780861"/>
              <a:gd name="connsiteX1" fmla="*/ 0 w 3203101"/>
              <a:gd name="connsiteY1" fmla="*/ 215734 h 9780861"/>
              <a:gd name="connsiteX2" fmla="*/ 2756654 w 3203101"/>
              <a:gd name="connsiteY2" fmla="*/ 0 h 9780861"/>
              <a:gd name="connsiteX3" fmla="*/ 3192226 w 3203101"/>
              <a:gd name="connsiteY3" fmla="*/ 251851 h 9780861"/>
              <a:gd name="connsiteX4" fmla="*/ 3203101 w 3203101"/>
              <a:gd name="connsiteY4" fmla="*/ 9748780 h 9780861"/>
              <a:gd name="connsiteX5" fmla="*/ 11262 w 3203101"/>
              <a:gd name="connsiteY5" fmla="*/ 9780861 h 9780861"/>
              <a:gd name="connsiteX0" fmla="*/ 11262 w 3203101"/>
              <a:gd name="connsiteY0" fmla="*/ 9780861 h 9780861"/>
              <a:gd name="connsiteX1" fmla="*/ 0 w 3203101"/>
              <a:gd name="connsiteY1" fmla="*/ 198905 h 9780861"/>
              <a:gd name="connsiteX2" fmla="*/ 2756654 w 3203101"/>
              <a:gd name="connsiteY2" fmla="*/ 0 h 9780861"/>
              <a:gd name="connsiteX3" fmla="*/ 3192226 w 3203101"/>
              <a:gd name="connsiteY3" fmla="*/ 251851 h 9780861"/>
              <a:gd name="connsiteX4" fmla="*/ 3203101 w 3203101"/>
              <a:gd name="connsiteY4" fmla="*/ 9748780 h 9780861"/>
              <a:gd name="connsiteX5" fmla="*/ 11262 w 3203101"/>
              <a:gd name="connsiteY5" fmla="*/ 9780861 h 9780861"/>
              <a:gd name="connsiteX0" fmla="*/ 11262 w 3203101"/>
              <a:gd name="connsiteY0" fmla="*/ 9780861 h 9780861"/>
              <a:gd name="connsiteX1" fmla="*/ 0 w 3203101"/>
              <a:gd name="connsiteY1" fmla="*/ 198905 h 9780861"/>
              <a:gd name="connsiteX2" fmla="*/ 2756654 w 3203101"/>
              <a:gd name="connsiteY2" fmla="*/ 0 h 9780861"/>
              <a:gd name="connsiteX3" fmla="*/ 3192226 w 3203101"/>
              <a:gd name="connsiteY3" fmla="*/ 251851 h 9780861"/>
              <a:gd name="connsiteX4" fmla="*/ 3203101 w 3203101"/>
              <a:gd name="connsiteY4" fmla="*/ 9748780 h 9780861"/>
              <a:gd name="connsiteX5" fmla="*/ 11262 w 3203101"/>
              <a:gd name="connsiteY5" fmla="*/ 9780861 h 9780861"/>
              <a:gd name="connsiteX0" fmla="*/ 5652 w 3197491"/>
              <a:gd name="connsiteY0" fmla="*/ 9780861 h 9780861"/>
              <a:gd name="connsiteX1" fmla="*/ 0 w 3197491"/>
              <a:gd name="connsiteY1" fmla="*/ 176466 h 9780861"/>
              <a:gd name="connsiteX2" fmla="*/ 2751044 w 3197491"/>
              <a:gd name="connsiteY2" fmla="*/ 0 h 9780861"/>
              <a:gd name="connsiteX3" fmla="*/ 3186616 w 3197491"/>
              <a:gd name="connsiteY3" fmla="*/ 251851 h 9780861"/>
              <a:gd name="connsiteX4" fmla="*/ 3197491 w 3197491"/>
              <a:gd name="connsiteY4" fmla="*/ 9748780 h 9780861"/>
              <a:gd name="connsiteX5" fmla="*/ 5652 w 3197491"/>
              <a:gd name="connsiteY5" fmla="*/ 9780861 h 9780861"/>
              <a:gd name="connsiteX0" fmla="*/ 5652 w 3197491"/>
              <a:gd name="connsiteY0" fmla="*/ 9786471 h 9786471"/>
              <a:gd name="connsiteX1" fmla="*/ 0 w 3197491"/>
              <a:gd name="connsiteY1" fmla="*/ 182076 h 9786471"/>
              <a:gd name="connsiteX2" fmla="*/ 2756654 w 3197491"/>
              <a:gd name="connsiteY2" fmla="*/ 0 h 9786471"/>
              <a:gd name="connsiteX3" fmla="*/ 3186616 w 3197491"/>
              <a:gd name="connsiteY3" fmla="*/ 257461 h 9786471"/>
              <a:gd name="connsiteX4" fmla="*/ 3197491 w 3197491"/>
              <a:gd name="connsiteY4" fmla="*/ 9754390 h 9786471"/>
              <a:gd name="connsiteX5" fmla="*/ 5652 w 3197491"/>
              <a:gd name="connsiteY5" fmla="*/ 9786471 h 9786471"/>
              <a:gd name="connsiteX0" fmla="*/ 5652 w 3197491"/>
              <a:gd name="connsiteY0" fmla="*/ 9786471 h 9786471"/>
              <a:gd name="connsiteX1" fmla="*/ 0 w 3197491"/>
              <a:gd name="connsiteY1" fmla="*/ 170044 h 9786471"/>
              <a:gd name="connsiteX2" fmla="*/ 2756654 w 3197491"/>
              <a:gd name="connsiteY2" fmla="*/ 0 h 9786471"/>
              <a:gd name="connsiteX3" fmla="*/ 3186616 w 3197491"/>
              <a:gd name="connsiteY3" fmla="*/ 257461 h 9786471"/>
              <a:gd name="connsiteX4" fmla="*/ 3197491 w 3197491"/>
              <a:gd name="connsiteY4" fmla="*/ 9754390 h 9786471"/>
              <a:gd name="connsiteX5" fmla="*/ 5652 w 3197491"/>
              <a:gd name="connsiteY5" fmla="*/ 9786471 h 9786471"/>
              <a:gd name="connsiteX0" fmla="*/ 5652 w 3197491"/>
              <a:gd name="connsiteY0" fmla="*/ 9786471 h 9786471"/>
              <a:gd name="connsiteX1" fmla="*/ 0 w 3197491"/>
              <a:gd name="connsiteY1" fmla="*/ 194107 h 9786471"/>
              <a:gd name="connsiteX2" fmla="*/ 2756654 w 3197491"/>
              <a:gd name="connsiteY2" fmla="*/ 0 h 9786471"/>
              <a:gd name="connsiteX3" fmla="*/ 3186616 w 3197491"/>
              <a:gd name="connsiteY3" fmla="*/ 257461 h 9786471"/>
              <a:gd name="connsiteX4" fmla="*/ 3197491 w 3197491"/>
              <a:gd name="connsiteY4" fmla="*/ 9754390 h 9786471"/>
              <a:gd name="connsiteX5" fmla="*/ 5652 w 3197491"/>
              <a:gd name="connsiteY5" fmla="*/ 9786471 h 9786471"/>
              <a:gd name="connsiteX0" fmla="*/ 5652 w 3197491"/>
              <a:gd name="connsiteY0" fmla="*/ 9786471 h 9790182"/>
              <a:gd name="connsiteX1" fmla="*/ 0 w 3197491"/>
              <a:gd name="connsiteY1" fmla="*/ 194107 h 9790182"/>
              <a:gd name="connsiteX2" fmla="*/ 2756654 w 3197491"/>
              <a:gd name="connsiteY2" fmla="*/ 0 h 9790182"/>
              <a:gd name="connsiteX3" fmla="*/ 3186616 w 3197491"/>
              <a:gd name="connsiteY3" fmla="*/ 257461 h 9790182"/>
              <a:gd name="connsiteX4" fmla="*/ 3197491 w 3197491"/>
              <a:gd name="connsiteY4" fmla="*/ 9790182 h 9790182"/>
              <a:gd name="connsiteX5" fmla="*/ 5652 w 3197491"/>
              <a:gd name="connsiteY5" fmla="*/ 9786471 h 9790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97491" h="9790182">
                <a:moveTo>
                  <a:pt x="5652" y="9786471"/>
                </a:moveTo>
                <a:cubicBezTo>
                  <a:pt x="-3320" y="6588745"/>
                  <a:pt x="8972" y="3391833"/>
                  <a:pt x="0" y="194107"/>
                </a:cubicBezTo>
                <a:lnTo>
                  <a:pt x="2756654" y="0"/>
                </a:lnTo>
                <a:lnTo>
                  <a:pt x="3186616" y="257461"/>
                </a:lnTo>
                <a:lnTo>
                  <a:pt x="3197491" y="9790182"/>
                </a:lnTo>
                <a:lnTo>
                  <a:pt x="5652" y="9786471"/>
                </a:lnTo>
                <a:close/>
              </a:path>
            </a:pathLst>
          </a:custGeom>
          <a:gradFill flip="none" rotWithShape="1">
            <a:gsLst>
              <a:gs pos="100000">
                <a:schemeClr val="bg1">
                  <a:alpha val="0"/>
                </a:schemeClr>
              </a:gs>
              <a:gs pos="29000">
                <a:schemeClr val="tx1">
                  <a:lumMod val="75000"/>
                  <a:alpha val="85000"/>
                </a:schemeClr>
              </a:gs>
              <a:gs pos="46000">
                <a:schemeClr val="tx1">
                  <a:lumMod val="75000"/>
                  <a:alpha val="75000"/>
                </a:schemeClr>
              </a:gs>
              <a:gs pos="79000">
                <a:srgbClr val="2E3535">
                  <a:alpha val="20000"/>
                </a:srgbClr>
              </a:gs>
              <a:gs pos="64000">
                <a:schemeClr val="tx1">
                  <a:lumMod val="75000"/>
                  <a:alpha val="50000"/>
                </a:schemeClr>
              </a:gs>
              <a:gs pos="0">
                <a:schemeClr val="tx1">
                  <a:lumMod val="75000"/>
                </a:schemeClr>
              </a:gs>
            </a:gsLst>
            <a:lin ang="21594000" scaled="0"/>
            <a:tileRect/>
          </a:gradFill>
          <a:ln w="19050">
            <a:noFill/>
          </a:ln>
        </p:spPr>
        <p:txBody>
          <a:bodyPr rot="0" spcFirstLastPara="0" vertOverflow="overflow" horzOverflow="overflow" vert="horz" wrap="square" lIns="454941" tIns="37851" rIns="75702" bIns="7279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 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877338" y="4429621"/>
            <a:ext cx="5504500" cy="2262007"/>
          </a:xfrm>
        </p:spPr>
        <p:txBody>
          <a:bodyPr wrap="square" anchor="b" anchorCtr="0">
            <a:noAutofit/>
          </a:bodyPr>
          <a:lstStyle>
            <a:lvl1pPr algn="l">
              <a:lnSpc>
                <a:spcPct val="80000"/>
              </a:lnSpc>
              <a:defRPr sz="4800" b="0" i="0" cap="all" baseline="0">
                <a:solidFill>
                  <a:schemeClr val="bg1"/>
                </a:solidFill>
                <a:effectLst/>
                <a:latin typeface="+mj-lt"/>
                <a:ea typeface="DIN Pro Black" charset="0"/>
                <a:cs typeface="DIN Pro Black" charset="0"/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Add </a:t>
            </a: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964063" y="5611024"/>
            <a:ext cx="2926080" cy="246221"/>
          </a:xfrm>
        </p:spPr>
        <p:txBody>
          <a:bodyPr wrap="square" anchor="b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7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964063" y="5891811"/>
            <a:ext cx="2926080" cy="221599"/>
          </a:xfrm>
        </p:spPr>
        <p:txBody>
          <a:bodyPr wrap="square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5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resenter’s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92663" y="6271411"/>
            <a:ext cx="2468880" cy="193899"/>
          </a:xfrm>
        </p:spPr>
        <p:txBody>
          <a:bodyPr wrap="square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CDD86703-6F1E-40F2-8E18-356D4E92C5B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rot="5400000">
            <a:off x="10388268" y="4150992"/>
            <a:ext cx="18288" cy="27432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A6755E2-68D0-4887-A72E-4FEB2FC898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6525" y="6557190"/>
            <a:ext cx="2743200" cy="1828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3811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D274482-5A7A-42E8-A55B-2B79C89DF7CD}"/>
              </a:ext>
            </a:extLst>
          </p:cNvPr>
          <p:cNvGrpSpPr/>
          <p:nvPr/>
        </p:nvGrpSpPr>
        <p:grpSpPr>
          <a:xfrm>
            <a:off x="1" y="-442088"/>
            <a:ext cx="3898232" cy="7312120"/>
            <a:chOff x="1" y="-442088"/>
            <a:chExt cx="3898232" cy="7312120"/>
          </a:xfrm>
        </p:grpSpPr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7FF789E-486F-4C2E-9D16-5E35C8FB8787}"/>
                </a:ext>
              </a:extLst>
            </p:cNvPr>
            <p:cNvSpPr/>
            <p:nvPr/>
          </p:nvSpPr>
          <p:spPr>
            <a:xfrm>
              <a:off x="1" y="-12032"/>
              <a:ext cx="3898232" cy="687714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7483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7483 h 687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7142">
                  <a:moveTo>
                    <a:pt x="0" y="7483"/>
                  </a:moveTo>
                  <a:lnTo>
                    <a:pt x="11367745" y="0"/>
                  </a:lnTo>
                  <a:cubicBezTo>
                    <a:pt x="9493718" y="1572491"/>
                    <a:pt x="6951519" y="3543847"/>
                    <a:pt x="6255328" y="5041232"/>
                  </a:cubicBezTo>
                  <a:cubicBezTo>
                    <a:pt x="6698673" y="6357413"/>
                    <a:pt x="6282143" y="5425879"/>
                    <a:pt x="6808614" y="6877142"/>
                  </a:cubicBezTo>
                  <a:lnTo>
                    <a:pt x="0" y="6870032"/>
                  </a:lnTo>
                  <a:lnTo>
                    <a:pt x="0" y="7483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05DDAA3-EE5F-4DE5-A70D-7AF0BF397FDF}"/>
                </a:ext>
              </a:extLst>
            </p:cNvPr>
            <p:cNvGrpSpPr/>
            <p:nvPr/>
          </p:nvGrpSpPr>
          <p:grpSpPr>
            <a:xfrm>
              <a:off x="819916" y="-442088"/>
              <a:ext cx="2900783" cy="7312120"/>
              <a:chOff x="5192691" y="-436277"/>
              <a:chExt cx="2900783" cy="7312120"/>
            </a:xfrm>
          </p:grpSpPr>
          <p:sp>
            <p:nvSpPr>
              <p:cNvPr id="17" name="Right Triangle 3">
                <a:extLst>
                  <a:ext uri="{FF2B5EF4-FFF2-40B4-BE49-F238E27FC236}">
                    <a16:creationId xmlns:a16="http://schemas.microsoft.com/office/drawing/2014/main" id="{D96C8D74-86E3-410B-B30E-AC2092CF0437}"/>
                  </a:ext>
                </a:extLst>
              </p:cNvPr>
              <p:cNvSpPr/>
              <p:nvPr/>
            </p:nvSpPr>
            <p:spPr>
              <a:xfrm flipH="1">
                <a:off x="5192691" y="4248202"/>
                <a:ext cx="1505899" cy="2626242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5899" h="2626242">
                    <a:moveTo>
                      <a:pt x="350874" y="2626242"/>
                    </a:moveTo>
                    <a:lnTo>
                      <a:pt x="0" y="0"/>
                    </a:lnTo>
                    <a:lnTo>
                      <a:pt x="1505899" y="2626242"/>
                    </a:lnTo>
                    <a:lnTo>
                      <a:pt x="350874" y="2626242"/>
                    </a:lnTo>
                    <a:close/>
                  </a:path>
                </a:pathLst>
              </a:custGeom>
              <a:gradFill>
                <a:gsLst>
                  <a:gs pos="2000">
                    <a:srgbClr val="62B53F"/>
                  </a:gs>
                  <a:gs pos="52000">
                    <a:srgbClr val="529533"/>
                  </a:gs>
                </a:gsLst>
                <a:lin ang="14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ight Triangle 3">
                <a:extLst>
                  <a:ext uri="{FF2B5EF4-FFF2-40B4-BE49-F238E27FC236}">
                    <a16:creationId xmlns:a16="http://schemas.microsoft.com/office/drawing/2014/main" id="{661AD5E9-89E6-47DA-8230-48C561B96C44}"/>
                  </a:ext>
                </a:extLst>
              </p:cNvPr>
              <p:cNvSpPr/>
              <p:nvPr/>
            </p:nvSpPr>
            <p:spPr>
              <a:xfrm>
                <a:off x="6009662" y="3824298"/>
                <a:ext cx="963639" cy="3051545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  <a:gd name="connsiteX0" fmla="*/ 0 w 1155025"/>
                  <a:gd name="connsiteY0" fmla="*/ 3051545 h 3051545"/>
                  <a:gd name="connsiteX1" fmla="*/ 733647 w 1155025"/>
                  <a:gd name="connsiteY1" fmla="*/ 0 h 3051545"/>
                  <a:gd name="connsiteX2" fmla="*/ 1155025 w 1155025"/>
                  <a:gd name="connsiteY2" fmla="*/ 3051545 h 3051545"/>
                  <a:gd name="connsiteX3" fmla="*/ 0 w 1155025"/>
                  <a:gd name="connsiteY3" fmla="*/ 3051545 h 3051545"/>
                  <a:gd name="connsiteX0" fmla="*/ 0 w 963639"/>
                  <a:gd name="connsiteY0" fmla="*/ 3051545 h 3051545"/>
                  <a:gd name="connsiteX1" fmla="*/ 733647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  <a:gd name="connsiteX0" fmla="*/ 0 w 963639"/>
                  <a:gd name="connsiteY0" fmla="*/ 3051545 h 3051545"/>
                  <a:gd name="connsiteX1" fmla="*/ 754912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3639" h="3051545">
                    <a:moveTo>
                      <a:pt x="0" y="3051545"/>
                    </a:moveTo>
                    <a:lnTo>
                      <a:pt x="754912" y="0"/>
                    </a:lnTo>
                    <a:lnTo>
                      <a:pt x="963639" y="3051545"/>
                    </a:lnTo>
                    <a:lnTo>
                      <a:pt x="0" y="3051545"/>
                    </a:lnTo>
                    <a:close/>
                  </a:path>
                </a:pathLst>
              </a:custGeom>
              <a:gradFill>
                <a:gsLst>
                  <a:gs pos="27000">
                    <a:srgbClr val="5EAC3E"/>
                  </a:gs>
                  <a:gs pos="64000">
                    <a:srgbClr val="67BD42"/>
                  </a:gs>
                </a:gsLst>
                <a:lin ang="7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Right Triangle 3">
                <a:extLst>
                  <a:ext uri="{FF2B5EF4-FFF2-40B4-BE49-F238E27FC236}">
                    <a16:creationId xmlns:a16="http://schemas.microsoft.com/office/drawing/2014/main" id="{A7348C05-05B2-4D8B-8B2A-370D98103528}"/>
                  </a:ext>
                </a:extLst>
              </p:cNvPr>
              <p:cNvSpPr/>
              <p:nvPr/>
            </p:nvSpPr>
            <p:spPr>
              <a:xfrm rot="12173926">
                <a:off x="7078743" y="-436277"/>
                <a:ext cx="1014731" cy="5974885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  <a:gd name="connsiteX0" fmla="*/ 0 w 1155025"/>
                  <a:gd name="connsiteY0" fmla="*/ 3051545 h 3051545"/>
                  <a:gd name="connsiteX1" fmla="*/ 733647 w 1155025"/>
                  <a:gd name="connsiteY1" fmla="*/ 0 h 3051545"/>
                  <a:gd name="connsiteX2" fmla="*/ 1155025 w 1155025"/>
                  <a:gd name="connsiteY2" fmla="*/ 3051545 h 3051545"/>
                  <a:gd name="connsiteX3" fmla="*/ 0 w 1155025"/>
                  <a:gd name="connsiteY3" fmla="*/ 3051545 h 3051545"/>
                  <a:gd name="connsiteX0" fmla="*/ 0 w 963639"/>
                  <a:gd name="connsiteY0" fmla="*/ 3051545 h 3051545"/>
                  <a:gd name="connsiteX1" fmla="*/ 733647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  <a:gd name="connsiteX0" fmla="*/ 0 w 963639"/>
                  <a:gd name="connsiteY0" fmla="*/ 3051545 h 3051545"/>
                  <a:gd name="connsiteX1" fmla="*/ 754912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  <a:gd name="connsiteX0" fmla="*/ 0 w 1014731"/>
                  <a:gd name="connsiteY0" fmla="*/ 3477101 h 3477101"/>
                  <a:gd name="connsiteX1" fmla="*/ 806004 w 1014731"/>
                  <a:gd name="connsiteY1" fmla="*/ 0 h 3477101"/>
                  <a:gd name="connsiteX2" fmla="*/ 1014731 w 1014731"/>
                  <a:gd name="connsiteY2" fmla="*/ 3051545 h 3477101"/>
                  <a:gd name="connsiteX3" fmla="*/ 0 w 1014731"/>
                  <a:gd name="connsiteY3" fmla="*/ 3477101 h 3477101"/>
                  <a:gd name="connsiteX0" fmla="*/ 0 w 1014731"/>
                  <a:gd name="connsiteY0" fmla="*/ 5974885 h 5974885"/>
                  <a:gd name="connsiteX1" fmla="*/ 789755 w 1014731"/>
                  <a:gd name="connsiteY1" fmla="*/ 0 h 5974885"/>
                  <a:gd name="connsiteX2" fmla="*/ 1014731 w 1014731"/>
                  <a:gd name="connsiteY2" fmla="*/ 5549329 h 5974885"/>
                  <a:gd name="connsiteX3" fmla="*/ 0 w 1014731"/>
                  <a:gd name="connsiteY3" fmla="*/ 5974885 h 5974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4731" h="5974885">
                    <a:moveTo>
                      <a:pt x="0" y="5974885"/>
                    </a:moveTo>
                    <a:lnTo>
                      <a:pt x="789755" y="0"/>
                    </a:lnTo>
                    <a:lnTo>
                      <a:pt x="1014731" y="5549329"/>
                    </a:lnTo>
                    <a:lnTo>
                      <a:pt x="0" y="5974885"/>
                    </a:lnTo>
                    <a:close/>
                  </a:path>
                </a:pathLst>
              </a:custGeom>
              <a:gradFill>
                <a:gsLst>
                  <a:gs pos="34000">
                    <a:schemeClr val="bg2"/>
                  </a:gs>
                  <a:gs pos="100000">
                    <a:srgbClr val="5BA23C"/>
                  </a:gs>
                </a:gsLst>
                <a:lin ang="21594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0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10223" y="980745"/>
            <a:ext cx="6113720" cy="5451953"/>
          </a:xfrm>
        </p:spPr>
        <p:txBody>
          <a:bodyPr anchor="ctr" anchorCtr="0">
            <a:noAutofit/>
          </a:bodyPr>
          <a:lstStyle>
            <a:lvl1pPr marL="274320" indent="-274320">
              <a:buClr>
                <a:schemeClr val="tx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58368" indent="-271463">
              <a:buClr>
                <a:schemeClr val="tx1">
                  <a:lumMod val="75000"/>
                </a:schemeClr>
              </a:buClr>
              <a:defRPr sz="2000">
                <a:solidFill>
                  <a:schemeClr val="tx1"/>
                </a:solidFill>
              </a:defRPr>
            </a:lvl2pPr>
            <a:lvl3pPr marL="914400" indent="-209550">
              <a:buClr>
                <a:schemeClr val="tx1">
                  <a:lumMod val="75000"/>
                </a:schemeClr>
              </a:buClr>
              <a:defRPr sz="1800">
                <a:solidFill>
                  <a:schemeClr val="tx1"/>
                </a:solidFill>
              </a:defRPr>
            </a:lvl3pPr>
            <a:lvl4pPr marL="1197864" indent="-209550">
              <a:buClr>
                <a:schemeClr val="tx1">
                  <a:lumMod val="75000"/>
                </a:schemeClr>
              </a:buClr>
              <a:defRPr sz="1600" baseline="0">
                <a:solidFill>
                  <a:schemeClr val="tx1"/>
                </a:solidFill>
              </a:defRPr>
            </a:lvl4pPr>
            <a:lvl5pPr marL="1444752" indent="-182563">
              <a:buClr>
                <a:schemeClr val="tx1">
                  <a:lumMod val="75000"/>
                </a:schemeClr>
              </a:buCl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890FC30-8DCC-413A-AA0E-582DE83381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22" name="Rectangle 6">
            <a:extLst>
              <a:ext uri="{FF2B5EF4-FFF2-40B4-BE49-F238E27FC236}">
                <a16:creationId xmlns:a16="http://schemas.microsoft.com/office/drawing/2014/main" id="{6379CB8E-4EC2-4950-8A37-A893B5EE86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5E9822-25BA-4A9B-997C-17913F255ED0}"/>
              </a:ext>
            </a:extLst>
          </p:cNvPr>
          <p:cNvSpPr txBox="1"/>
          <p:nvPr/>
        </p:nvSpPr>
        <p:spPr bwMode="white">
          <a:xfrm>
            <a:off x="515532" y="2105269"/>
            <a:ext cx="1810284" cy="435935"/>
          </a:xfrm>
          <a:prstGeom prst="rect">
            <a:avLst/>
          </a:prstGeom>
        </p:spPr>
        <p:txBody>
          <a:bodyPr vert="horz" wrap="square" lIns="91440" tIns="91440" rIns="91440" bIns="91440" rtlCol="0">
            <a:noAutofit/>
          </a:bodyPr>
          <a:lstStyle/>
          <a:p>
            <a:pPr algn="ctr"/>
            <a:r>
              <a:rPr lang="en-US" sz="2400" spc="300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F94E971-61B1-42D5-B1FA-497DDBB8DB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2541" y="734944"/>
            <a:ext cx="1036266" cy="1326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913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B869BD2A-1F03-4037-9D44-41280E72CF8C}"/>
              </a:ext>
            </a:extLst>
          </p:cNvPr>
          <p:cNvSpPr/>
          <p:nvPr userDrawn="1"/>
        </p:nvSpPr>
        <p:spPr>
          <a:xfrm flipV="1">
            <a:off x="0" y="-1"/>
            <a:ext cx="2162175" cy="5241956"/>
          </a:xfrm>
          <a:prstGeom prst="rtTriangl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16" name="Right Triangle 3">
            <a:extLst>
              <a:ext uri="{FF2B5EF4-FFF2-40B4-BE49-F238E27FC236}">
                <a16:creationId xmlns:a16="http://schemas.microsoft.com/office/drawing/2014/main" id="{56990D95-B6C6-4723-82D2-F9651330B7FE}"/>
              </a:ext>
            </a:extLst>
          </p:cNvPr>
          <p:cNvSpPr/>
          <p:nvPr userDrawn="1"/>
        </p:nvSpPr>
        <p:spPr>
          <a:xfrm flipH="1">
            <a:off x="-6515" y="4242391"/>
            <a:ext cx="712079" cy="2616194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350874 w 712079"/>
              <a:gd name="connsiteY0" fmla="*/ 2626242 h 2626242"/>
              <a:gd name="connsiteX1" fmla="*/ 0 w 712079"/>
              <a:gd name="connsiteY1" fmla="*/ 0 h 2626242"/>
              <a:gd name="connsiteX2" fmla="*/ 712079 w 712079"/>
              <a:gd name="connsiteY2" fmla="*/ 1279763 h 2626242"/>
              <a:gd name="connsiteX3" fmla="*/ 350874 w 712079"/>
              <a:gd name="connsiteY3" fmla="*/ 2626242 h 2626242"/>
              <a:gd name="connsiteX0" fmla="*/ 692518 w 712079"/>
              <a:gd name="connsiteY0" fmla="*/ 2626242 h 2626242"/>
              <a:gd name="connsiteX1" fmla="*/ 0 w 712079"/>
              <a:gd name="connsiteY1" fmla="*/ 0 h 2626242"/>
              <a:gd name="connsiteX2" fmla="*/ 712079 w 712079"/>
              <a:gd name="connsiteY2" fmla="*/ 1279763 h 2626242"/>
              <a:gd name="connsiteX3" fmla="*/ 692518 w 712079"/>
              <a:gd name="connsiteY3" fmla="*/ 2626242 h 2626242"/>
              <a:gd name="connsiteX0" fmla="*/ 692518 w 712079"/>
              <a:gd name="connsiteY0" fmla="*/ 2626242 h 2626242"/>
              <a:gd name="connsiteX1" fmla="*/ 0 w 712079"/>
              <a:gd name="connsiteY1" fmla="*/ 0 h 2626242"/>
              <a:gd name="connsiteX2" fmla="*/ 712079 w 712079"/>
              <a:gd name="connsiteY2" fmla="*/ 1264691 h 2626242"/>
              <a:gd name="connsiteX3" fmla="*/ 692518 w 712079"/>
              <a:gd name="connsiteY3" fmla="*/ 2626242 h 2626242"/>
              <a:gd name="connsiteX0" fmla="*/ 702567 w 712079"/>
              <a:gd name="connsiteY0" fmla="*/ 2616194 h 2616194"/>
              <a:gd name="connsiteX1" fmla="*/ 0 w 712079"/>
              <a:gd name="connsiteY1" fmla="*/ 0 h 2616194"/>
              <a:gd name="connsiteX2" fmla="*/ 712079 w 712079"/>
              <a:gd name="connsiteY2" fmla="*/ 1264691 h 2616194"/>
              <a:gd name="connsiteX3" fmla="*/ 702567 w 712079"/>
              <a:gd name="connsiteY3" fmla="*/ 2616194 h 2616194"/>
              <a:gd name="connsiteX0" fmla="*/ 702567 w 712079"/>
              <a:gd name="connsiteY0" fmla="*/ 2616194 h 2616194"/>
              <a:gd name="connsiteX1" fmla="*/ 605080 w 712079"/>
              <a:gd name="connsiteY1" fmla="*/ 2258893 h 2616194"/>
              <a:gd name="connsiteX2" fmla="*/ 0 w 712079"/>
              <a:gd name="connsiteY2" fmla="*/ 0 h 2616194"/>
              <a:gd name="connsiteX3" fmla="*/ 712079 w 712079"/>
              <a:gd name="connsiteY3" fmla="*/ 1264691 h 2616194"/>
              <a:gd name="connsiteX4" fmla="*/ 702567 w 712079"/>
              <a:gd name="connsiteY4" fmla="*/ 2616194 h 2616194"/>
              <a:gd name="connsiteX0" fmla="*/ 702567 w 712079"/>
              <a:gd name="connsiteY0" fmla="*/ 2616194 h 2616194"/>
              <a:gd name="connsiteX1" fmla="*/ 665371 w 712079"/>
              <a:gd name="connsiteY1" fmla="*/ 2615609 h 2616194"/>
              <a:gd name="connsiteX2" fmla="*/ 0 w 712079"/>
              <a:gd name="connsiteY2" fmla="*/ 0 h 2616194"/>
              <a:gd name="connsiteX3" fmla="*/ 712079 w 712079"/>
              <a:gd name="connsiteY3" fmla="*/ 1264691 h 2616194"/>
              <a:gd name="connsiteX4" fmla="*/ 702567 w 712079"/>
              <a:gd name="connsiteY4" fmla="*/ 2616194 h 2616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2079" h="2616194">
                <a:moveTo>
                  <a:pt x="702567" y="2616194"/>
                </a:moveTo>
                <a:lnTo>
                  <a:pt x="665371" y="2615609"/>
                </a:lnTo>
                <a:lnTo>
                  <a:pt x="0" y="0"/>
                </a:lnTo>
                <a:lnTo>
                  <a:pt x="712079" y="1264691"/>
                </a:lnTo>
                <a:cubicBezTo>
                  <a:pt x="708908" y="1715192"/>
                  <a:pt x="705738" y="2165693"/>
                  <a:pt x="702567" y="2616194"/>
                </a:cubicBezTo>
                <a:close/>
              </a:path>
            </a:pathLst>
          </a:custGeom>
          <a:gradFill>
            <a:gsLst>
              <a:gs pos="2000">
                <a:srgbClr val="62B53F"/>
              </a:gs>
              <a:gs pos="52000">
                <a:srgbClr val="529533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ight Triangle 3">
            <a:extLst>
              <a:ext uri="{FF2B5EF4-FFF2-40B4-BE49-F238E27FC236}">
                <a16:creationId xmlns:a16="http://schemas.microsoft.com/office/drawing/2014/main" id="{EC9B2ECA-C14A-4E87-A3F3-80BB4481D7A8}"/>
              </a:ext>
            </a:extLst>
          </p:cNvPr>
          <p:cNvSpPr/>
          <p:nvPr userDrawn="1"/>
        </p:nvSpPr>
        <p:spPr>
          <a:xfrm>
            <a:off x="16636" y="3818487"/>
            <a:ext cx="963639" cy="3051545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0 w 1155025"/>
              <a:gd name="connsiteY0" fmla="*/ 3051545 h 3051545"/>
              <a:gd name="connsiteX1" fmla="*/ 733647 w 1155025"/>
              <a:gd name="connsiteY1" fmla="*/ 0 h 3051545"/>
              <a:gd name="connsiteX2" fmla="*/ 1155025 w 1155025"/>
              <a:gd name="connsiteY2" fmla="*/ 3051545 h 3051545"/>
              <a:gd name="connsiteX3" fmla="*/ 0 w 1155025"/>
              <a:gd name="connsiteY3" fmla="*/ 3051545 h 3051545"/>
              <a:gd name="connsiteX0" fmla="*/ 0 w 963639"/>
              <a:gd name="connsiteY0" fmla="*/ 3051545 h 3051545"/>
              <a:gd name="connsiteX1" fmla="*/ 733647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963639"/>
              <a:gd name="connsiteY0" fmla="*/ 3051545 h 3051545"/>
              <a:gd name="connsiteX1" fmla="*/ 754912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3639" h="3051545">
                <a:moveTo>
                  <a:pt x="0" y="3051545"/>
                </a:moveTo>
                <a:lnTo>
                  <a:pt x="754912" y="0"/>
                </a:lnTo>
                <a:lnTo>
                  <a:pt x="963639" y="3051545"/>
                </a:lnTo>
                <a:lnTo>
                  <a:pt x="0" y="3051545"/>
                </a:lnTo>
                <a:close/>
              </a:path>
            </a:pathLst>
          </a:custGeom>
          <a:gradFill>
            <a:gsLst>
              <a:gs pos="27000">
                <a:srgbClr val="5EAC3E"/>
              </a:gs>
              <a:gs pos="64000">
                <a:srgbClr val="67BD4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Right Triangle 3">
            <a:extLst>
              <a:ext uri="{FF2B5EF4-FFF2-40B4-BE49-F238E27FC236}">
                <a16:creationId xmlns:a16="http://schemas.microsoft.com/office/drawing/2014/main" id="{9AFA1F9D-E0DB-427A-8D67-2A3C457C3A94}"/>
              </a:ext>
            </a:extLst>
          </p:cNvPr>
          <p:cNvSpPr/>
          <p:nvPr userDrawn="1"/>
        </p:nvSpPr>
        <p:spPr>
          <a:xfrm rot="12173926">
            <a:off x="1003907" y="-455806"/>
            <a:ext cx="1014731" cy="6395388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0 w 1155025"/>
              <a:gd name="connsiteY0" fmla="*/ 3051545 h 3051545"/>
              <a:gd name="connsiteX1" fmla="*/ 733647 w 1155025"/>
              <a:gd name="connsiteY1" fmla="*/ 0 h 3051545"/>
              <a:gd name="connsiteX2" fmla="*/ 1155025 w 1155025"/>
              <a:gd name="connsiteY2" fmla="*/ 3051545 h 3051545"/>
              <a:gd name="connsiteX3" fmla="*/ 0 w 1155025"/>
              <a:gd name="connsiteY3" fmla="*/ 3051545 h 3051545"/>
              <a:gd name="connsiteX0" fmla="*/ 0 w 963639"/>
              <a:gd name="connsiteY0" fmla="*/ 3051545 h 3051545"/>
              <a:gd name="connsiteX1" fmla="*/ 733647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963639"/>
              <a:gd name="connsiteY0" fmla="*/ 3051545 h 3051545"/>
              <a:gd name="connsiteX1" fmla="*/ 754912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1014731"/>
              <a:gd name="connsiteY0" fmla="*/ 3477101 h 3477101"/>
              <a:gd name="connsiteX1" fmla="*/ 806004 w 1014731"/>
              <a:gd name="connsiteY1" fmla="*/ 0 h 3477101"/>
              <a:gd name="connsiteX2" fmla="*/ 1014731 w 1014731"/>
              <a:gd name="connsiteY2" fmla="*/ 3051545 h 3477101"/>
              <a:gd name="connsiteX3" fmla="*/ 0 w 1014731"/>
              <a:gd name="connsiteY3" fmla="*/ 3477101 h 3477101"/>
              <a:gd name="connsiteX0" fmla="*/ 0 w 1014731"/>
              <a:gd name="connsiteY0" fmla="*/ 5974885 h 5974885"/>
              <a:gd name="connsiteX1" fmla="*/ 789755 w 1014731"/>
              <a:gd name="connsiteY1" fmla="*/ 0 h 5974885"/>
              <a:gd name="connsiteX2" fmla="*/ 1014731 w 1014731"/>
              <a:gd name="connsiteY2" fmla="*/ 5549329 h 5974885"/>
              <a:gd name="connsiteX3" fmla="*/ 0 w 1014731"/>
              <a:gd name="connsiteY3" fmla="*/ 5974885 h 5974885"/>
              <a:gd name="connsiteX0" fmla="*/ 0 w 1014731"/>
              <a:gd name="connsiteY0" fmla="*/ 7343100 h 7343100"/>
              <a:gd name="connsiteX1" fmla="*/ 978069 w 1014731"/>
              <a:gd name="connsiteY1" fmla="*/ 0 h 7343100"/>
              <a:gd name="connsiteX2" fmla="*/ 1014731 w 1014731"/>
              <a:gd name="connsiteY2" fmla="*/ 6917544 h 7343100"/>
              <a:gd name="connsiteX3" fmla="*/ 0 w 1014731"/>
              <a:gd name="connsiteY3" fmla="*/ 7343100 h 7343100"/>
              <a:gd name="connsiteX0" fmla="*/ 0 w 1014731"/>
              <a:gd name="connsiteY0" fmla="*/ 7503364 h 7503364"/>
              <a:gd name="connsiteX1" fmla="*/ 945205 w 1014731"/>
              <a:gd name="connsiteY1" fmla="*/ 0 h 7503364"/>
              <a:gd name="connsiteX2" fmla="*/ 1014731 w 1014731"/>
              <a:gd name="connsiteY2" fmla="*/ 7077808 h 7503364"/>
              <a:gd name="connsiteX3" fmla="*/ 0 w 1014731"/>
              <a:gd name="connsiteY3" fmla="*/ 7503364 h 7503364"/>
              <a:gd name="connsiteX0" fmla="*/ 0 w 1014731"/>
              <a:gd name="connsiteY0" fmla="*/ 7503364 h 7503364"/>
              <a:gd name="connsiteX1" fmla="*/ 762176 w 1014731"/>
              <a:gd name="connsiteY1" fmla="*/ 1360664 h 7503364"/>
              <a:gd name="connsiteX2" fmla="*/ 945205 w 1014731"/>
              <a:gd name="connsiteY2" fmla="*/ 0 h 7503364"/>
              <a:gd name="connsiteX3" fmla="*/ 1014731 w 1014731"/>
              <a:gd name="connsiteY3" fmla="*/ 7077808 h 7503364"/>
              <a:gd name="connsiteX4" fmla="*/ 0 w 1014731"/>
              <a:gd name="connsiteY4" fmla="*/ 7503364 h 7503364"/>
              <a:gd name="connsiteX0" fmla="*/ 0 w 1014731"/>
              <a:gd name="connsiteY0" fmla="*/ 7503364 h 7503364"/>
              <a:gd name="connsiteX1" fmla="*/ 793220 w 1014731"/>
              <a:gd name="connsiteY1" fmla="*/ 1227564 h 7503364"/>
              <a:gd name="connsiteX2" fmla="*/ 945205 w 1014731"/>
              <a:gd name="connsiteY2" fmla="*/ 0 h 7503364"/>
              <a:gd name="connsiteX3" fmla="*/ 1014731 w 1014731"/>
              <a:gd name="connsiteY3" fmla="*/ 7077808 h 7503364"/>
              <a:gd name="connsiteX4" fmla="*/ 0 w 1014731"/>
              <a:gd name="connsiteY4" fmla="*/ 7503364 h 7503364"/>
              <a:gd name="connsiteX0" fmla="*/ 0 w 1014731"/>
              <a:gd name="connsiteY0" fmla="*/ 6275800 h 6275800"/>
              <a:gd name="connsiteX1" fmla="*/ 793220 w 1014731"/>
              <a:gd name="connsiteY1" fmla="*/ 0 h 6275800"/>
              <a:gd name="connsiteX2" fmla="*/ 963930 w 1014731"/>
              <a:gd name="connsiteY2" fmla="*/ 237103 h 6275800"/>
              <a:gd name="connsiteX3" fmla="*/ 1014731 w 1014731"/>
              <a:gd name="connsiteY3" fmla="*/ 5850244 h 6275800"/>
              <a:gd name="connsiteX4" fmla="*/ 0 w 1014731"/>
              <a:gd name="connsiteY4" fmla="*/ 6275800 h 6275800"/>
              <a:gd name="connsiteX0" fmla="*/ 0 w 1014731"/>
              <a:gd name="connsiteY0" fmla="*/ 6321680 h 6321680"/>
              <a:gd name="connsiteX1" fmla="*/ 850196 w 1014731"/>
              <a:gd name="connsiteY1" fmla="*/ 0 h 6321680"/>
              <a:gd name="connsiteX2" fmla="*/ 963930 w 1014731"/>
              <a:gd name="connsiteY2" fmla="*/ 282983 h 6321680"/>
              <a:gd name="connsiteX3" fmla="*/ 1014731 w 1014731"/>
              <a:gd name="connsiteY3" fmla="*/ 5896124 h 6321680"/>
              <a:gd name="connsiteX4" fmla="*/ 0 w 1014731"/>
              <a:gd name="connsiteY4" fmla="*/ 6321680 h 6321680"/>
              <a:gd name="connsiteX0" fmla="*/ 0 w 1014731"/>
              <a:gd name="connsiteY0" fmla="*/ 6337721 h 6337721"/>
              <a:gd name="connsiteX1" fmla="*/ 810697 w 1014731"/>
              <a:gd name="connsiteY1" fmla="*/ 0 h 6337721"/>
              <a:gd name="connsiteX2" fmla="*/ 963930 w 1014731"/>
              <a:gd name="connsiteY2" fmla="*/ 299024 h 6337721"/>
              <a:gd name="connsiteX3" fmla="*/ 1014731 w 1014731"/>
              <a:gd name="connsiteY3" fmla="*/ 5912165 h 6337721"/>
              <a:gd name="connsiteX4" fmla="*/ 0 w 1014731"/>
              <a:gd name="connsiteY4" fmla="*/ 6337721 h 6337721"/>
              <a:gd name="connsiteX0" fmla="*/ 0 w 1014731"/>
              <a:gd name="connsiteY0" fmla="*/ 6337721 h 6337721"/>
              <a:gd name="connsiteX1" fmla="*/ 810697 w 1014731"/>
              <a:gd name="connsiteY1" fmla="*/ 0 h 6337721"/>
              <a:gd name="connsiteX2" fmla="*/ 961456 w 1014731"/>
              <a:gd name="connsiteY2" fmla="*/ 267345 h 6337721"/>
              <a:gd name="connsiteX3" fmla="*/ 1014731 w 1014731"/>
              <a:gd name="connsiteY3" fmla="*/ 5912165 h 6337721"/>
              <a:gd name="connsiteX4" fmla="*/ 0 w 1014731"/>
              <a:gd name="connsiteY4" fmla="*/ 6337721 h 6337721"/>
              <a:gd name="connsiteX0" fmla="*/ 0 w 1014731"/>
              <a:gd name="connsiteY0" fmla="*/ 6343586 h 6343586"/>
              <a:gd name="connsiteX1" fmla="*/ 824582 w 1014731"/>
              <a:gd name="connsiteY1" fmla="*/ 0 h 6343586"/>
              <a:gd name="connsiteX2" fmla="*/ 961456 w 1014731"/>
              <a:gd name="connsiteY2" fmla="*/ 273210 h 6343586"/>
              <a:gd name="connsiteX3" fmla="*/ 1014731 w 1014731"/>
              <a:gd name="connsiteY3" fmla="*/ 5918030 h 6343586"/>
              <a:gd name="connsiteX4" fmla="*/ 0 w 1014731"/>
              <a:gd name="connsiteY4" fmla="*/ 6343586 h 6343586"/>
              <a:gd name="connsiteX0" fmla="*/ 0 w 1014731"/>
              <a:gd name="connsiteY0" fmla="*/ 6343586 h 6343586"/>
              <a:gd name="connsiteX1" fmla="*/ 824582 w 1014731"/>
              <a:gd name="connsiteY1" fmla="*/ 0 h 6343586"/>
              <a:gd name="connsiteX2" fmla="*/ 945417 w 1014731"/>
              <a:gd name="connsiteY2" fmla="*/ 312710 h 6343586"/>
              <a:gd name="connsiteX3" fmla="*/ 1014731 w 1014731"/>
              <a:gd name="connsiteY3" fmla="*/ 5918030 h 6343586"/>
              <a:gd name="connsiteX4" fmla="*/ 0 w 1014731"/>
              <a:gd name="connsiteY4" fmla="*/ 6343586 h 6343586"/>
              <a:gd name="connsiteX0" fmla="*/ 0 w 1014731"/>
              <a:gd name="connsiteY0" fmla="*/ 6343586 h 6343586"/>
              <a:gd name="connsiteX1" fmla="*/ 824582 w 1014731"/>
              <a:gd name="connsiteY1" fmla="*/ 0 h 6343586"/>
              <a:gd name="connsiteX2" fmla="*/ 937597 w 1014731"/>
              <a:gd name="connsiteY2" fmla="*/ 294197 h 6343586"/>
              <a:gd name="connsiteX3" fmla="*/ 1014731 w 1014731"/>
              <a:gd name="connsiteY3" fmla="*/ 5918030 h 6343586"/>
              <a:gd name="connsiteX4" fmla="*/ 0 w 1014731"/>
              <a:gd name="connsiteY4" fmla="*/ 6343586 h 6343586"/>
              <a:gd name="connsiteX0" fmla="*/ 0 w 1014731"/>
              <a:gd name="connsiteY0" fmla="*/ 6343586 h 6343586"/>
              <a:gd name="connsiteX1" fmla="*/ 824582 w 1014731"/>
              <a:gd name="connsiteY1" fmla="*/ 0 h 6343586"/>
              <a:gd name="connsiteX2" fmla="*/ 942225 w 1014731"/>
              <a:gd name="connsiteY2" fmla="*/ 292242 h 6343586"/>
              <a:gd name="connsiteX3" fmla="*/ 1014731 w 1014731"/>
              <a:gd name="connsiteY3" fmla="*/ 5918030 h 6343586"/>
              <a:gd name="connsiteX4" fmla="*/ 0 w 1014731"/>
              <a:gd name="connsiteY4" fmla="*/ 6343586 h 6343586"/>
              <a:gd name="connsiteX0" fmla="*/ 0 w 1014731"/>
              <a:gd name="connsiteY0" fmla="*/ 6395388 h 6395388"/>
              <a:gd name="connsiteX1" fmla="*/ 796930 w 1014731"/>
              <a:gd name="connsiteY1" fmla="*/ 0 h 6395388"/>
              <a:gd name="connsiteX2" fmla="*/ 942225 w 1014731"/>
              <a:gd name="connsiteY2" fmla="*/ 344044 h 6395388"/>
              <a:gd name="connsiteX3" fmla="*/ 1014731 w 1014731"/>
              <a:gd name="connsiteY3" fmla="*/ 5969832 h 6395388"/>
              <a:gd name="connsiteX4" fmla="*/ 0 w 1014731"/>
              <a:gd name="connsiteY4" fmla="*/ 6395388 h 6395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731" h="6395388">
                <a:moveTo>
                  <a:pt x="0" y="6395388"/>
                </a:moveTo>
                <a:lnTo>
                  <a:pt x="796930" y="0"/>
                </a:lnTo>
                <a:lnTo>
                  <a:pt x="942225" y="344044"/>
                </a:lnTo>
                <a:lnTo>
                  <a:pt x="1014731" y="5969832"/>
                </a:lnTo>
                <a:lnTo>
                  <a:pt x="0" y="6395388"/>
                </a:lnTo>
                <a:close/>
              </a:path>
            </a:pathLst>
          </a:custGeom>
          <a:gradFill>
            <a:gsLst>
              <a:gs pos="34000">
                <a:schemeClr val="bg2"/>
              </a:gs>
              <a:gs pos="100000">
                <a:srgbClr val="5BA23C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949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 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1196343-8F78-4139-9E68-CF34CFDA08D9}"/>
              </a:ext>
            </a:extLst>
          </p:cNvPr>
          <p:cNvSpPr/>
          <p:nvPr/>
        </p:nvSpPr>
        <p:spPr>
          <a:xfrm flipH="1" flipV="1">
            <a:off x="2399216" y="978417"/>
            <a:ext cx="2422187" cy="4957578"/>
          </a:xfrm>
          <a:custGeom>
            <a:avLst/>
            <a:gdLst>
              <a:gd name="connsiteX0" fmla="*/ 2373549 w 2373549"/>
              <a:gd name="connsiteY0" fmla="*/ 0 h 3550596"/>
              <a:gd name="connsiteX1" fmla="*/ 2237362 w 2373549"/>
              <a:gd name="connsiteY1" fmla="*/ 651753 h 3550596"/>
              <a:gd name="connsiteX2" fmla="*/ 778213 w 2373549"/>
              <a:gd name="connsiteY2" fmla="*/ 3531141 h 3550596"/>
              <a:gd name="connsiteX3" fmla="*/ 0 w 2373549"/>
              <a:gd name="connsiteY3" fmla="*/ 3550596 h 3550596"/>
              <a:gd name="connsiteX4" fmla="*/ 2373549 w 2373549"/>
              <a:gd name="connsiteY4" fmla="*/ 0 h 3550596"/>
              <a:gd name="connsiteX0" fmla="*/ 2422187 w 2422187"/>
              <a:gd name="connsiteY0" fmla="*/ 0 h 3540868"/>
              <a:gd name="connsiteX1" fmla="*/ 2237362 w 2422187"/>
              <a:gd name="connsiteY1" fmla="*/ 642025 h 3540868"/>
              <a:gd name="connsiteX2" fmla="*/ 778213 w 2422187"/>
              <a:gd name="connsiteY2" fmla="*/ 3521413 h 3540868"/>
              <a:gd name="connsiteX3" fmla="*/ 0 w 2422187"/>
              <a:gd name="connsiteY3" fmla="*/ 3540868 h 3540868"/>
              <a:gd name="connsiteX4" fmla="*/ 2422187 w 2422187"/>
              <a:gd name="connsiteY4" fmla="*/ 0 h 3540868"/>
              <a:gd name="connsiteX0" fmla="*/ 2422187 w 2422187"/>
              <a:gd name="connsiteY0" fmla="*/ 0 h 3550596"/>
              <a:gd name="connsiteX1" fmla="*/ 2237362 w 2422187"/>
              <a:gd name="connsiteY1" fmla="*/ 642025 h 3550596"/>
              <a:gd name="connsiteX2" fmla="*/ 768485 w 2422187"/>
              <a:gd name="connsiteY2" fmla="*/ 3550596 h 3550596"/>
              <a:gd name="connsiteX3" fmla="*/ 0 w 2422187"/>
              <a:gd name="connsiteY3" fmla="*/ 3540868 h 3550596"/>
              <a:gd name="connsiteX4" fmla="*/ 2422187 w 2422187"/>
              <a:gd name="connsiteY4" fmla="*/ 0 h 3550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2187" h="3550596">
                <a:moveTo>
                  <a:pt x="2422187" y="0"/>
                </a:moveTo>
                <a:lnTo>
                  <a:pt x="2237362" y="642025"/>
                </a:lnTo>
                <a:lnTo>
                  <a:pt x="768485" y="3550596"/>
                </a:lnTo>
                <a:lnTo>
                  <a:pt x="0" y="3540868"/>
                </a:lnTo>
                <a:lnTo>
                  <a:pt x="2422187" y="0"/>
                </a:lnTo>
                <a:close/>
              </a:path>
            </a:pathLst>
          </a:custGeom>
          <a:gradFill>
            <a:gsLst>
              <a:gs pos="27000">
                <a:srgbClr val="5EAC3E"/>
              </a:gs>
              <a:gs pos="64000">
                <a:srgbClr val="67BD4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9B0A6DD-FF7F-4EA4-8F97-70EC6E745E49}"/>
              </a:ext>
            </a:extLst>
          </p:cNvPr>
          <p:cNvSpPr/>
          <p:nvPr/>
        </p:nvSpPr>
        <p:spPr>
          <a:xfrm flipH="1" flipV="1">
            <a:off x="2810833" y="978417"/>
            <a:ext cx="1556426" cy="4222898"/>
          </a:xfrm>
          <a:custGeom>
            <a:avLst/>
            <a:gdLst>
              <a:gd name="connsiteX0" fmla="*/ 749030 w 1556426"/>
              <a:gd name="connsiteY0" fmla="*/ 3073940 h 3083668"/>
              <a:gd name="connsiteX1" fmla="*/ 0 w 1556426"/>
              <a:gd name="connsiteY1" fmla="*/ 3083668 h 3083668"/>
              <a:gd name="connsiteX2" fmla="*/ 1556426 w 1556426"/>
              <a:gd name="connsiteY2" fmla="*/ 0 h 3083668"/>
              <a:gd name="connsiteX3" fmla="*/ 749030 w 1556426"/>
              <a:gd name="connsiteY3" fmla="*/ 3073940 h 3083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6426" h="3083668">
                <a:moveTo>
                  <a:pt x="749030" y="3073940"/>
                </a:moveTo>
                <a:lnTo>
                  <a:pt x="0" y="3083668"/>
                </a:lnTo>
                <a:lnTo>
                  <a:pt x="1556426" y="0"/>
                </a:lnTo>
                <a:lnTo>
                  <a:pt x="749030" y="3073940"/>
                </a:lnTo>
                <a:close/>
              </a:path>
            </a:pathLst>
          </a:custGeom>
          <a:gradFill>
            <a:gsLst>
              <a:gs pos="34000">
                <a:schemeClr val="bg2"/>
              </a:gs>
              <a:gs pos="100000">
                <a:srgbClr val="5BA23C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15" name="Right Triangle 10">
            <a:extLst>
              <a:ext uri="{FF2B5EF4-FFF2-40B4-BE49-F238E27FC236}">
                <a16:creationId xmlns:a16="http://schemas.microsoft.com/office/drawing/2014/main" id="{82E43DF6-9A70-4B04-8042-940F8A3C9D5A}"/>
              </a:ext>
            </a:extLst>
          </p:cNvPr>
          <p:cNvSpPr/>
          <p:nvPr/>
        </p:nvSpPr>
        <p:spPr>
          <a:xfrm flipH="1">
            <a:off x="2254100" y="4475140"/>
            <a:ext cx="797441" cy="2388930"/>
          </a:xfrm>
          <a:custGeom>
            <a:avLst/>
            <a:gdLst>
              <a:gd name="connsiteX0" fmla="*/ 0 w 280287"/>
              <a:gd name="connsiteY0" fmla="*/ 1796902 h 1796902"/>
              <a:gd name="connsiteX1" fmla="*/ 0 w 280287"/>
              <a:gd name="connsiteY1" fmla="*/ 0 h 1796902"/>
              <a:gd name="connsiteX2" fmla="*/ 280287 w 280287"/>
              <a:gd name="connsiteY2" fmla="*/ 1796902 h 1796902"/>
              <a:gd name="connsiteX3" fmla="*/ 0 w 280287"/>
              <a:gd name="connsiteY3" fmla="*/ 1796902 h 1796902"/>
              <a:gd name="connsiteX0" fmla="*/ 308344 w 588631"/>
              <a:gd name="connsiteY0" fmla="*/ 1903228 h 1903228"/>
              <a:gd name="connsiteX1" fmla="*/ 0 w 588631"/>
              <a:gd name="connsiteY1" fmla="*/ 0 h 1903228"/>
              <a:gd name="connsiteX2" fmla="*/ 588631 w 588631"/>
              <a:gd name="connsiteY2" fmla="*/ 1903228 h 1903228"/>
              <a:gd name="connsiteX3" fmla="*/ 308344 w 588631"/>
              <a:gd name="connsiteY3" fmla="*/ 1903228 h 1903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8631" h="1903228">
                <a:moveTo>
                  <a:pt x="308344" y="1903228"/>
                </a:moveTo>
                <a:lnTo>
                  <a:pt x="0" y="0"/>
                </a:lnTo>
                <a:lnTo>
                  <a:pt x="588631" y="1903228"/>
                </a:lnTo>
                <a:lnTo>
                  <a:pt x="308344" y="1903228"/>
                </a:lnTo>
                <a:close/>
              </a:path>
            </a:pathLst>
          </a:custGeom>
          <a:gradFill>
            <a:gsLst>
              <a:gs pos="2000">
                <a:srgbClr val="62B53F"/>
              </a:gs>
              <a:gs pos="52000">
                <a:srgbClr val="529533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1B456CEE-0787-4789-90B6-9140D8371DC0}"/>
              </a:ext>
            </a:extLst>
          </p:cNvPr>
          <p:cNvSpPr/>
          <p:nvPr/>
        </p:nvSpPr>
        <p:spPr>
          <a:xfrm flipH="1" flipV="1">
            <a:off x="-41321" y="1006471"/>
            <a:ext cx="4173034" cy="5897880"/>
          </a:xfrm>
          <a:custGeom>
            <a:avLst/>
            <a:gdLst>
              <a:gd name="connsiteX0" fmla="*/ 2483124 w 5460510"/>
              <a:gd name="connsiteY0" fmla="*/ 0 h 5143500"/>
              <a:gd name="connsiteX1" fmla="*/ 3448297 w 5460510"/>
              <a:gd name="connsiteY1" fmla="*/ 0 h 5143500"/>
              <a:gd name="connsiteX2" fmla="*/ 4717679 w 5460510"/>
              <a:gd name="connsiteY2" fmla="*/ 0 h 5143500"/>
              <a:gd name="connsiteX3" fmla="*/ 4741319 w 5460510"/>
              <a:gd name="connsiteY3" fmla="*/ 0 h 5143500"/>
              <a:gd name="connsiteX4" fmla="*/ 5318193 w 5460510"/>
              <a:gd name="connsiteY4" fmla="*/ 0 h 5143500"/>
              <a:gd name="connsiteX5" fmla="*/ 5460510 w 5460510"/>
              <a:gd name="connsiteY5" fmla="*/ 0 h 5143500"/>
              <a:gd name="connsiteX6" fmla="*/ 5460510 w 5460510"/>
              <a:gd name="connsiteY6" fmla="*/ 5143500 h 5143500"/>
              <a:gd name="connsiteX7" fmla="*/ 5318193 w 5460510"/>
              <a:gd name="connsiteY7" fmla="*/ 5143500 h 5143500"/>
              <a:gd name="connsiteX8" fmla="*/ 4741319 w 5460510"/>
              <a:gd name="connsiteY8" fmla="*/ 5143500 h 5143500"/>
              <a:gd name="connsiteX9" fmla="*/ 4717679 w 5460510"/>
              <a:gd name="connsiteY9" fmla="*/ 5143500 h 5143500"/>
              <a:gd name="connsiteX10" fmla="*/ 3448297 w 5460510"/>
              <a:gd name="connsiteY10" fmla="*/ 5143500 h 5143500"/>
              <a:gd name="connsiteX11" fmla="*/ 0 w 5460510"/>
              <a:gd name="connsiteY11" fmla="*/ 5143500 h 5143500"/>
              <a:gd name="connsiteX0" fmla="*/ 2293851 w 5271237"/>
              <a:gd name="connsiteY0" fmla="*/ 0 h 5174189"/>
              <a:gd name="connsiteX1" fmla="*/ 3259024 w 5271237"/>
              <a:gd name="connsiteY1" fmla="*/ 0 h 5174189"/>
              <a:gd name="connsiteX2" fmla="*/ 4528406 w 5271237"/>
              <a:gd name="connsiteY2" fmla="*/ 0 h 5174189"/>
              <a:gd name="connsiteX3" fmla="*/ 4552046 w 5271237"/>
              <a:gd name="connsiteY3" fmla="*/ 0 h 5174189"/>
              <a:gd name="connsiteX4" fmla="*/ 5128920 w 5271237"/>
              <a:gd name="connsiteY4" fmla="*/ 0 h 5174189"/>
              <a:gd name="connsiteX5" fmla="*/ 5271237 w 5271237"/>
              <a:gd name="connsiteY5" fmla="*/ 0 h 5174189"/>
              <a:gd name="connsiteX6" fmla="*/ 5271237 w 5271237"/>
              <a:gd name="connsiteY6" fmla="*/ 5143500 h 5174189"/>
              <a:gd name="connsiteX7" fmla="*/ 5128920 w 5271237"/>
              <a:gd name="connsiteY7" fmla="*/ 5143500 h 5174189"/>
              <a:gd name="connsiteX8" fmla="*/ 4552046 w 5271237"/>
              <a:gd name="connsiteY8" fmla="*/ 5143500 h 5174189"/>
              <a:gd name="connsiteX9" fmla="*/ 4528406 w 5271237"/>
              <a:gd name="connsiteY9" fmla="*/ 5143500 h 5174189"/>
              <a:gd name="connsiteX10" fmla="*/ 3259024 w 5271237"/>
              <a:gd name="connsiteY10" fmla="*/ 5143500 h 5174189"/>
              <a:gd name="connsiteX11" fmla="*/ 0 w 5271237"/>
              <a:gd name="connsiteY11" fmla="*/ 5174189 h 5174189"/>
              <a:gd name="connsiteX12" fmla="*/ 2293851 w 5271237"/>
              <a:gd name="connsiteY12" fmla="*/ 0 h 5174189"/>
              <a:gd name="connsiteX0" fmla="*/ 2293851 w 5271237"/>
              <a:gd name="connsiteY0" fmla="*/ 0 h 5174189"/>
              <a:gd name="connsiteX1" fmla="*/ 3259024 w 5271237"/>
              <a:gd name="connsiteY1" fmla="*/ 0 h 5174189"/>
              <a:gd name="connsiteX2" fmla="*/ 4528406 w 5271237"/>
              <a:gd name="connsiteY2" fmla="*/ 0 h 5174189"/>
              <a:gd name="connsiteX3" fmla="*/ 4552046 w 5271237"/>
              <a:gd name="connsiteY3" fmla="*/ 0 h 5174189"/>
              <a:gd name="connsiteX4" fmla="*/ 5128920 w 5271237"/>
              <a:gd name="connsiteY4" fmla="*/ 0 h 5174189"/>
              <a:gd name="connsiteX5" fmla="*/ 5271237 w 5271237"/>
              <a:gd name="connsiteY5" fmla="*/ 0 h 5174189"/>
              <a:gd name="connsiteX6" fmla="*/ 5271237 w 5271237"/>
              <a:gd name="connsiteY6" fmla="*/ 5143500 h 5174189"/>
              <a:gd name="connsiteX7" fmla="*/ 5128920 w 5271237"/>
              <a:gd name="connsiteY7" fmla="*/ 5143500 h 5174189"/>
              <a:gd name="connsiteX8" fmla="*/ 4552046 w 5271237"/>
              <a:gd name="connsiteY8" fmla="*/ 5143500 h 5174189"/>
              <a:gd name="connsiteX9" fmla="*/ 4528406 w 5271237"/>
              <a:gd name="connsiteY9" fmla="*/ 5143500 h 5174189"/>
              <a:gd name="connsiteX10" fmla="*/ 3259024 w 5271237"/>
              <a:gd name="connsiteY10" fmla="*/ 5143500 h 5174189"/>
              <a:gd name="connsiteX11" fmla="*/ 0 w 5271237"/>
              <a:gd name="connsiteY11" fmla="*/ 5174189 h 5174189"/>
              <a:gd name="connsiteX12" fmla="*/ 2293851 w 5271237"/>
              <a:gd name="connsiteY12" fmla="*/ 0 h 5174189"/>
              <a:gd name="connsiteX0" fmla="*/ 2293851 w 5271237"/>
              <a:gd name="connsiteY0" fmla="*/ 0 h 5174189"/>
              <a:gd name="connsiteX1" fmla="*/ 3259024 w 5271237"/>
              <a:gd name="connsiteY1" fmla="*/ 0 h 5174189"/>
              <a:gd name="connsiteX2" fmla="*/ 4528406 w 5271237"/>
              <a:gd name="connsiteY2" fmla="*/ 0 h 5174189"/>
              <a:gd name="connsiteX3" fmla="*/ 4552046 w 5271237"/>
              <a:gd name="connsiteY3" fmla="*/ 0 h 5174189"/>
              <a:gd name="connsiteX4" fmla="*/ 5128920 w 5271237"/>
              <a:gd name="connsiteY4" fmla="*/ 0 h 5174189"/>
              <a:gd name="connsiteX5" fmla="*/ 5271237 w 5271237"/>
              <a:gd name="connsiteY5" fmla="*/ 0 h 5174189"/>
              <a:gd name="connsiteX6" fmla="*/ 5271237 w 5271237"/>
              <a:gd name="connsiteY6" fmla="*/ 5143500 h 5174189"/>
              <a:gd name="connsiteX7" fmla="*/ 5128920 w 5271237"/>
              <a:gd name="connsiteY7" fmla="*/ 5143500 h 5174189"/>
              <a:gd name="connsiteX8" fmla="*/ 4552046 w 5271237"/>
              <a:gd name="connsiteY8" fmla="*/ 5143500 h 5174189"/>
              <a:gd name="connsiteX9" fmla="*/ 4528406 w 5271237"/>
              <a:gd name="connsiteY9" fmla="*/ 5143500 h 5174189"/>
              <a:gd name="connsiteX10" fmla="*/ 3259024 w 5271237"/>
              <a:gd name="connsiteY10" fmla="*/ 5143500 h 5174189"/>
              <a:gd name="connsiteX11" fmla="*/ 0 w 5271237"/>
              <a:gd name="connsiteY11" fmla="*/ 5174189 h 5174189"/>
              <a:gd name="connsiteX12" fmla="*/ 2293851 w 5271237"/>
              <a:gd name="connsiteY12" fmla="*/ 0 h 5174189"/>
              <a:gd name="connsiteX0" fmla="*/ 2268405 w 5245791"/>
              <a:gd name="connsiteY0" fmla="*/ 0 h 5168229"/>
              <a:gd name="connsiteX1" fmla="*/ 3233578 w 5245791"/>
              <a:gd name="connsiteY1" fmla="*/ 0 h 5168229"/>
              <a:gd name="connsiteX2" fmla="*/ 4502960 w 5245791"/>
              <a:gd name="connsiteY2" fmla="*/ 0 h 5168229"/>
              <a:gd name="connsiteX3" fmla="*/ 4526600 w 5245791"/>
              <a:gd name="connsiteY3" fmla="*/ 0 h 5168229"/>
              <a:gd name="connsiteX4" fmla="*/ 5103474 w 5245791"/>
              <a:gd name="connsiteY4" fmla="*/ 0 h 5168229"/>
              <a:gd name="connsiteX5" fmla="*/ 5245791 w 5245791"/>
              <a:gd name="connsiteY5" fmla="*/ 0 h 5168229"/>
              <a:gd name="connsiteX6" fmla="*/ 5245791 w 5245791"/>
              <a:gd name="connsiteY6" fmla="*/ 5143500 h 5168229"/>
              <a:gd name="connsiteX7" fmla="*/ 5103474 w 5245791"/>
              <a:gd name="connsiteY7" fmla="*/ 5143500 h 5168229"/>
              <a:gd name="connsiteX8" fmla="*/ 4526600 w 5245791"/>
              <a:gd name="connsiteY8" fmla="*/ 5143500 h 5168229"/>
              <a:gd name="connsiteX9" fmla="*/ 4502960 w 5245791"/>
              <a:gd name="connsiteY9" fmla="*/ 5143500 h 5168229"/>
              <a:gd name="connsiteX10" fmla="*/ 3233578 w 5245791"/>
              <a:gd name="connsiteY10" fmla="*/ 5143500 h 5168229"/>
              <a:gd name="connsiteX11" fmla="*/ 0 w 5245791"/>
              <a:gd name="connsiteY11" fmla="*/ 5168229 h 5168229"/>
              <a:gd name="connsiteX12" fmla="*/ 2268405 w 5245791"/>
              <a:gd name="connsiteY12" fmla="*/ 0 h 5168229"/>
              <a:gd name="connsiteX0" fmla="*/ 2268405 w 5245791"/>
              <a:gd name="connsiteY0" fmla="*/ 0 h 5168229"/>
              <a:gd name="connsiteX1" fmla="*/ 3233578 w 5245791"/>
              <a:gd name="connsiteY1" fmla="*/ 0 h 5168229"/>
              <a:gd name="connsiteX2" fmla="*/ 4502960 w 5245791"/>
              <a:gd name="connsiteY2" fmla="*/ 0 h 5168229"/>
              <a:gd name="connsiteX3" fmla="*/ 4526600 w 5245791"/>
              <a:gd name="connsiteY3" fmla="*/ 0 h 5168229"/>
              <a:gd name="connsiteX4" fmla="*/ 5103474 w 5245791"/>
              <a:gd name="connsiteY4" fmla="*/ 0 h 5168229"/>
              <a:gd name="connsiteX5" fmla="*/ 5245791 w 5245791"/>
              <a:gd name="connsiteY5" fmla="*/ 0 h 5168229"/>
              <a:gd name="connsiteX6" fmla="*/ 5245791 w 5245791"/>
              <a:gd name="connsiteY6" fmla="*/ 5143500 h 5168229"/>
              <a:gd name="connsiteX7" fmla="*/ 5103474 w 5245791"/>
              <a:gd name="connsiteY7" fmla="*/ 5143500 h 5168229"/>
              <a:gd name="connsiteX8" fmla="*/ 4526600 w 5245791"/>
              <a:gd name="connsiteY8" fmla="*/ 5143500 h 5168229"/>
              <a:gd name="connsiteX9" fmla="*/ 4502960 w 5245791"/>
              <a:gd name="connsiteY9" fmla="*/ 5143500 h 5168229"/>
              <a:gd name="connsiteX10" fmla="*/ 3233578 w 5245791"/>
              <a:gd name="connsiteY10" fmla="*/ 5143500 h 5168229"/>
              <a:gd name="connsiteX11" fmla="*/ 0 w 5245791"/>
              <a:gd name="connsiteY11" fmla="*/ 5168229 h 5168229"/>
              <a:gd name="connsiteX12" fmla="*/ 2268405 w 5245791"/>
              <a:gd name="connsiteY12" fmla="*/ 0 h 5168229"/>
              <a:gd name="connsiteX0" fmla="*/ 2268405 w 5245791"/>
              <a:gd name="connsiteY0" fmla="*/ 0 h 5158710"/>
              <a:gd name="connsiteX1" fmla="*/ 3233578 w 5245791"/>
              <a:gd name="connsiteY1" fmla="*/ 0 h 5158710"/>
              <a:gd name="connsiteX2" fmla="*/ 4502960 w 5245791"/>
              <a:gd name="connsiteY2" fmla="*/ 0 h 5158710"/>
              <a:gd name="connsiteX3" fmla="*/ 4526600 w 5245791"/>
              <a:gd name="connsiteY3" fmla="*/ 0 h 5158710"/>
              <a:gd name="connsiteX4" fmla="*/ 5103474 w 5245791"/>
              <a:gd name="connsiteY4" fmla="*/ 0 h 5158710"/>
              <a:gd name="connsiteX5" fmla="*/ 5245791 w 5245791"/>
              <a:gd name="connsiteY5" fmla="*/ 0 h 5158710"/>
              <a:gd name="connsiteX6" fmla="*/ 5245791 w 5245791"/>
              <a:gd name="connsiteY6" fmla="*/ 5143500 h 5158710"/>
              <a:gd name="connsiteX7" fmla="*/ 5103474 w 5245791"/>
              <a:gd name="connsiteY7" fmla="*/ 5143500 h 5158710"/>
              <a:gd name="connsiteX8" fmla="*/ 4526600 w 5245791"/>
              <a:gd name="connsiteY8" fmla="*/ 5143500 h 5158710"/>
              <a:gd name="connsiteX9" fmla="*/ 4502960 w 5245791"/>
              <a:gd name="connsiteY9" fmla="*/ 5143500 h 5158710"/>
              <a:gd name="connsiteX10" fmla="*/ 3233578 w 5245791"/>
              <a:gd name="connsiteY10" fmla="*/ 5143500 h 5158710"/>
              <a:gd name="connsiteX11" fmla="*/ 0 w 5245791"/>
              <a:gd name="connsiteY11" fmla="*/ 5158710 h 5158710"/>
              <a:gd name="connsiteX12" fmla="*/ 2268405 w 5245791"/>
              <a:gd name="connsiteY12" fmla="*/ 0 h 5158710"/>
              <a:gd name="connsiteX0" fmla="*/ 226840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68405 w 5245791"/>
              <a:gd name="connsiteY12" fmla="*/ 0 h 5153950"/>
              <a:gd name="connsiteX0" fmla="*/ 226840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68405 w 5245791"/>
              <a:gd name="connsiteY12" fmla="*/ 0 h 5153950"/>
              <a:gd name="connsiteX0" fmla="*/ 224582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45825 w 5245791"/>
              <a:gd name="connsiteY12" fmla="*/ 0 h 5153950"/>
              <a:gd name="connsiteX0" fmla="*/ 224582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45825 w 5245791"/>
              <a:gd name="connsiteY12" fmla="*/ 0 h 5153950"/>
              <a:gd name="connsiteX0" fmla="*/ 224582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45825 w 5245791"/>
              <a:gd name="connsiteY12" fmla="*/ 0 h 5153950"/>
              <a:gd name="connsiteX0" fmla="*/ 2166425 w 5166391"/>
              <a:gd name="connsiteY0" fmla="*/ 0 h 5143540"/>
              <a:gd name="connsiteX1" fmla="*/ 3154178 w 5166391"/>
              <a:gd name="connsiteY1" fmla="*/ 0 h 5143540"/>
              <a:gd name="connsiteX2" fmla="*/ 4423560 w 5166391"/>
              <a:gd name="connsiteY2" fmla="*/ 0 h 5143540"/>
              <a:gd name="connsiteX3" fmla="*/ 4447200 w 5166391"/>
              <a:gd name="connsiteY3" fmla="*/ 0 h 5143540"/>
              <a:gd name="connsiteX4" fmla="*/ 5024074 w 5166391"/>
              <a:gd name="connsiteY4" fmla="*/ 0 h 5143540"/>
              <a:gd name="connsiteX5" fmla="*/ 5166391 w 5166391"/>
              <a:gd name="connsiteY5" fmla="*/ 0 h 5143540"/>
              <a:gd name="connsiteX6" fmla="*/ 5166391 w 5166391"/>
              <a:gd name="connsiteY6" fmla="*/ 5143500 h 5143540"/>
              <a:gd name="connsiteX7" fmla="*/ 5024074 w 5166391"/>
              <a:gd name="connsiteY7" fmla="*/ 5143500 h 5143540"/>
              <a:gd name="connsiteX8" fmla="*/ 4447200 w 5166391"/>
              <a:gd name="connsiteY8" fmla="*/ 5143500 h 5143540"/>
              <a:gd name="connsiteX9" fmla="*/ 4423560 w 5166391"/>
              <a:gd name="connsiteY9" fmla="*/ 5143500 h 5143540"/>
              <a:gd name="connsiteX10" fmla="*/ 3154178 w 5166391"/>
              <a:gd name="connsiteY10" fmla="*/ 5143500 h 5143540"/>
              <a:gd name="connsiteX11" fmla="*/ 0 w 5166391"/>
              <a:gd name="connsiteY11" fmla="*/ 4930799 h 5143540"/>
              <a:gd name="connsiteX12" fmla="*/ 2166425 w 5166391"/>
              <a:gd name="connsiteY12" fmla="*/ 0 h 5143540"/>
              <a:gd name="connsiteX0" fmla="*/ 2166425 w 5166391"/>
              <a:gd name="connsiteY0" fmla="*/ 0 h 5143500"/>
              <a:gd name="connsiteX1" fmla="*/ 3154178 w 5166391"/>
              <a:gd name="connsiteY1" fmla="*/ 0 h 5143500"/>
              <a:gd name="connsiteX2" fmla="*/ 4423560 w 5166391"/>
              <a:gd name="connsiteY2" fmla="*/ 0 h 5143500"/>
              <a:gd name="connsiteX3" fmla="*/ 4447200 w 5166391"/>
              <a:gd name="connsiteY3" fmla="*/ 0 h 5143500"/>
              <a:gd name="connsiteX4" fmla="*/ 5024074 w 5166391"/>
              <a:gd name="connsiteY4" fmla="*/ 0 h 5143500"/>
              <a:gd name="connsiteX5" fmla="*/ 5166391 w 5166391"/>
              <a:gd name="connsiteY5" fmla="*/ 0 h 5143500"/>
              <a:gd name="connsiteX6" fmla="*/ 5166391 w 5166391"/>
              <a:gd name="connsiteY6" fmla="*/ 5143500 h 5143500"/>
              <a:gd name="connsiteX7" fmla="*/ 5024074 w 5166391"/>
              <a:gd name="connsiteY7" fmla="*/ 5143500 h 5143500"/>
              <a:gd name="connsiteX8" fmla="*/ 4447200 w 5166391"/>
              <a:gd name="connsiteY8" fmla="*/ 5143500 h 5143500"/>
              <a:gd name="connsiteX9" fmla="*/ 4423560 w 5166391"/>
              <a:gd name="connsiteY9" fmla="*/ 5143500 h 5143500"/>
              <a:gd name="connsiteX10" fmla="*/ 0 w 5166391"/>
              <a:gd name="connsiteY10" fmla="*/ 4930799 h 5143500"/>
              <a:gd name="connsiteX11" fmla="*/ 2166425 w 5166391"/>
              <a:gd name="connsiteY11" fmla="*/ 0 h 5143500"/>
              <a:gd name="connsiteX0" fmla="*/ 2166425 w 5166391"/>
              <a:gd name="connsiteY0" fmla="*/ 0 h 5143500"/>
              <a:gd name="connsiteX1" fmla="*/ 3154178 w 5166391"/>
              <a:gd name="connsiteY1" fmla="*/ 0 h 5143500"/>
              <a:gd name="connsiteX2" fmla="*/ 4423560 w 5166391"/>
              <a:gd name="connsiteY2" fmla="*/ 0 h 5143500"/>
              <a:gd name="connsiteX3" fmla="*/ 4447200 w 5166391"/>
              <a:gd name="connsiteY3" fmla="*/ 0 h 5143500"/>
              <a:gd name="connsiteX4" fmla="*/ 5024074 w 5166391"/>
              <a:gd name="connsiteY4" fmla="*/ 0 h 5143500"/>
              <a:gd name="connsiteX5" fmla="*/ 5166391 w 5166391"/>
              <a:gd name="connsiteY5" fmla="*/ 0 h 5143500"/>
              <a:gd name="connsiteX6" fmla="*/ 5166391 w 5166391"/>
              <a:gd name="connsiteY6" fmla="*/ 5143500 h 5143500"/>
              <a:gd name="connsiteX7" fmla="*/ 5024074 w 5166391"/>
              <a:gd name="connsiteY7" fmla="*/ 5143500 h 5143500"/>
              <a:gd name="connsiteX8" fmla="*/ 4447200 w 5166391"/>
              <a:gd name="connsiteY8" fmla="*/ 5143500 h 5143500"/>
              <a:gd name="connsiteX9" fmla="*/ 0 w 5166391"/>
              <a:gd name="connsiteY9" fmla="*/ 4930799 h 5143500"/>
              <a:gd name="connsiteX10" fmla="*/ 2166425 w 5166391"/>
              <a:gd name="connsiteY10" fmla="*/ 0 h 5143500"/>
              <a:gd name="connsiteX0" fmla="*/ 2166425 w 5166391"/>
              <a:gd name="connsiteY0" fmla="*/ 0 h 5143500"/>
              <a:gd name="connsiteX1" fmla="*/ 3154178 w 5166391"/>
              <a:gd name="connsiteY1" fmla="*/ 0 h 5143500"/>
              <a:gd name="connsiteX2" fmla="*/ 4423560 w 5166391"/>
              <a:gd name="connsiteY2" fmla="*/ 0 h 5143500"/>
              <a:gd name="connsiteX3" fmla="*/ 4447200 w 5166391"/>
              <a:gd name="connsiteY3" fmla="*/ 0 h 5143500"/>
              <a:gd name="connsiteX4" fmla="*/ 5024074 w 5166391"/>
              <a:gd name="connsiteY4" fmla="*/ 0 h 5143500"/>
              <a:gd name="connsiteX5" fmla="*/ 5166391 w 5166391"/>
              <a:gd name="connsiteY5" fmla="*/ 0 h 5143500"/>
              <a:gd name="connsiteX6" fmla="*/ 5166391 w 5166391"/>
              <a:gd name="connsiteY6" fmla="*/ 5143500 h 5143500"/>
              <a:gd name="connsiteX7" fmla="*/ 5024074 w 5166391"/>
              <a:gd name="connsiteY7" fmla="*/ 5143500 h 5143500"/>
              <a:gd name="connsiteX8" fmla="*/ 0 w 5166391"/>
              <a:gd name="connsiteY8" fmla="*/ 4930799 h 5143500"/>
              <a:gd name="connsiteX9" fmla="*/ 2166425 w 5166391"/>
              <a:gd name="connsiteY9" fmla="*/ 0 h 5143500"/>
              <a:gd name="connsiteX0" fmla="*/ 2166425 w 5166391"/>
              <a:gd name="connsiteY0" fmla="*/ 0 h 5143500"/>
              <a:gd name="connsiteX1" fmla="*/ 3154178 w 5166391"/>
              <a:gd name="connsiteY1" fmla="*/ 0 h 5143500"/>
              <a:gd name="connsiteX2" fmla="*/ 4423560 w 5166391"/>
              <a:gd name="connsiteY2" fmla="*/ 0 h 5143500"/>
              <a:gd name="connsiteX3" fmla="*/ 4447200 w 5166391"/>
              <a:gd name="connsiteY3" fmla="*/ 0 h 5143500"/>
              <a:gd name="connsiteX4" fmla="*/ 5024074 w 5166391"/>
              <a:gd name="connsiteY4" fmla="*/ 0 h 5143500"/>
              <a:gd name="connsiteX5" fmla="*/ 5166391 w 5166391"/>
              <a:gd name="connsiteY5" fmla="*/ 0 h 5143500"/>
              <a:gd name="connsiteX6" fmla="*/ 5166391 w 5166391"/>
              <a:gd name="connsiteY6" fmla="*/ 5143500 h 5143500"/>
              <a:gd name="connsiteX7" fmla="*/ 0 w 5166391"/>
              <a:gd name="connsiteY7" fmla="*/ 4930799 h 5143500"/>
              <a:gd name="connsiteX8" fmla="*/ 2166425 w 5166391"/>
              <a:gd name="connsiteY8" fmla="*/ 0 h 5143500"/>
              <a:gd name="connsiteX0" fmla="*/ 2166425 w 5166391"/>
              <a:gd name="connsiteY0" fmla="*/ 0 h 4930799"/>
              <a:gd name="connsiteX1" fmla="*/ 3154178 w 5166391"/>
              <a:gd name="connsiteY1" fmla="*/ 0 h 4930799"/>
              <a:gd name="connsiteX2" fmla="*/ 4423560 w 5166391"/>
              <a:gd name="connsiteY2" fmla="*/ 0 h 4930799"/>
              <a:gd name="connsiteX3" fmla="*/ 4447200 w 5166391"/>
              <a:gd name="connsiteY3" fmla="*/ 0 h 4930799"/>
              <a:gd name="connsiteX4" fmla="*/ 5024074 w 5166391"/>
              <a:gd name="connsiteY4" fmla="*/ 0 h 4930799"/>
              <a:gd name="connsiteX5" fmla="*/ 5166391 w 5166391"/>
              <a:gd name="connsiteY5" fmla="*/ 0 h 4930799"/>
              <a:gd name="connsiteX6" fmla="*/ 4417765 w 5166391"/>
              <a:gd name="connsiteY6" fmla="*/ 4920350 h 4930799"/>
              <a:gd name="connsiteX7" fmla="*/ 0 w 5166391"/>
              <a:gd name="connsiteY7" fmla="*/ 4930799 h 4930799"/>
              <a:gd name="connsiteX8" fmla="*/ 2166425 w 5166391"/>
              <a:gd name="connsiteY8" fmla="*/ 0 h 4930799"/>
              <a:gd name="connsiteX0" fmla="*/ 2166425 w 5166391"/>
              <a:gd name="connsiteY0" fmla="*/ 0 h 4930799"/>
              <a:gd name="connsiteX1" fmla="*/ 3154178 w 5166391"/>
              <a:gd name="connsiteY1" fmla="*/ 0 h 4930799"/>
              <a:gd name="connsiteX2" fmla="*/ 4423560 w 5166391"/>
              <a:gd name="connsiteY2" fmla="*/ 0 h 4930799"/>
              <a:gd name="connsiteX3" fmla="*/ 4447200 w 5166391"/>
              <a:gd name="connsiteY3" fmla="*/ 0 h 4930799"/>
              <a:gd name="connsiteX4" fmla="*/ 5166391 w 5166391"/>
              <a:gd name="connsiteY4" fmla="*/ 0 h 4930799"/>
              <a:gd name="connsiteX5" fmla="*/ 4417765 w 5166391"/>
              <a:gd name="connsiteY5" fmla="*/ 4920350 h 4930799"/>
              <a:gd name="connsiteX6" fmla="*/ 0 w 5166391"/>
              <a:gd name="connsiteY6" fmla="*/ 4930799 h 4930799"/>
              <a:gd name="connsiteX7" fmla="*/ 2166425 w 5166391"/>
              <a:gd name="connsiteY7" fmla="*/ 0 h 4930799"/>
              <a:gd name="connsiteX0" fmla="*/ 2166425 w 5166391"/>
              <a:gd name="connsiteY0" fmla="*/ 0 h 4930799"/>
              <a:gd name="connsiteX1" fmla="*/ 3154178 w 5166391"/>
              <a:gd name="connsiteY1" fmla="*/ 0 h 4930799"/>
              <a:gd name="connsiteX2" fmla="*/ 4423560 w 5166391"/>
              <a:gd name="connsiteY2" fmla="*/ 0 h 4930799"/>
              <a:gd name="connsiteX3" fmla="*/ 5166391 w 5166391"/>
              <a:gd name="connsiteY3" fmla="*/ 0 h 4930799"/>
              <a:gd name="connsiteX4" fmla="*/ 4417765 w 5166391"/>
              <a:gd name="connsiteY4" fmla="*/ 4920350 h 4930799"/>
              <a:gd name="connsiteX5" fmla="*/ 0 w 5166391"/>
              <a:gd name="connsiteY5" fmla="*/ 4930799 h 4930799"/>
              <a:gd name="connsiteX6" fmla="*/ 2166425 w 5166391"/>
              <a:gd name="connsiteY6" fmla="*/ 0 h 4930799"/>
              <a:gd name="connsiteX0" fmla="*/ 2166425 w 5166391"/>
              <a:gd name="connsiteY0" fmla="*/ 0 h 4930799"/>
              <a:gd name="connsiteX1" fmla="*/ 3154178 w 5166391"/>
              <a:gd name="connsiteY1" fmla="*/ 0 h 4930799"/>
              <a:gd name="connsiteX2" fmla="*/ 5166391 w 5166391"/>
              <a:gd name="connsiteY2" fmla="*/ 0 h 4930799"/>
              <a:gd name="connsiteX3" fmla="*/ 4417765 w 5166391"/>
              <a:gd name="connsiteY3" fmla="*/ 4920350 h 4930799"/>
              <a:gd name="connsiteX4" fmla="*/ 0 w 5166391"/>
              <a:gd name="connsiteY4" fmla="*/ 4930799 h 4930799"/>
              <a:gd name="connsiteX5" fmla="*/ 2166425 w 5166391"/>
              <a:gd name="connsiteY5" fmla="*/ 0 h 4930799"/>
              <a:gd name="connsiteX0" fmla="*/ 2166425 w 5166391"/>
              <a:gd name="connsiteY0" fmla="*/ 0 h 4930799"/>
              <a:gd name="connsiteX1" fmla="*/ 5166391 w 5166391"/>
              <a:gd name="connsiteY1" fmla="*/ 0 h 4930799"/>
              <a:gd name="connsiteX2" fmla="*/ 4417765 w 5166391"/>
              <a:gd name="connsiteY2" fmla="*/ 4920350 h 4930799"/>
              <a:gd name="connsiteX3" fmla="*/ 0 w 5166391"/>
              <a:gd name="connsiteY3" fmla="*/ 4930799 h 4930799"/>
              <a:gd name="connsiteX4" fmla="*/ 2166425 w 5166391"/>
              <a:gd name="connsiteY4" fmla="*/ 0 h 4930799"/>
              <a:gd name="connsiteX0" fmla="*/ 1939568 w 5166391"/>
              <a:gd name="connsiteY0" fmla="*/ 525998 h 4930799"/>
              <a:gd name="connsiteX1" fmla="*/ 5166391 w 5166391"/>
              <a:gd name="connsiteY1" fmla="*/ 0 h 4930799"/>
              <a:gd name="connsiteX2" fmla="*/ 4417765 w 5166391"/>
              <a:gd name="connsiteY2" fmla="*/ 4920350 h 4930799"/>
              <a:gd name="connsiteX3" fmla="*/ 0 w 5166391"/>
              <a:gd name="connsiteY3" fmla="*/ 4930799 h 4930799"/>
              <a:gd name="connsiteX4" fmla="*/ 1939568 w 5166391"/>
              <a:gd name="connsiteY4" fmla="*/ 525998 h 4930799"/>
              <a:gd name="connsiteX0" fmla="*/ 1939568 w 4440451"/>
              <a:gd name="connsiteY0" fmla="*/ 31879 h 4436680"/>
              <a:gd name="connsiteX1" fmla="*/ 4440451 w 4440451"/>
              <a:gd name="connsiteY1" fmla="*/ 0 h 4436680"/>
              <a:gd name="connsiteX2" fmla="*/ 4417765 w 4440451"/>
              <a:gd name="connsiteY2" fmla="*/ 4426231 h 4436680"/>
              <a:gd name="connsiteX3" fmla="*/ 0 w 4440451"/>
              <a:gd name="connsiteY3" fmla="*/ 4436680 h 4436680"/>
              <a:gd name="connsiteX4" fmla="*/ 1939568 w 4440451"/>
              <a:gd name="connsiteY4" fmla="*/ 31879 h 4436680"/>
              <a:gd name="connsiteX0" fmla="*/ 1939568 w 4451793"/>
              <a:gd name="connsiteY0" fmla="*/ 23909 h 4428710"/>
              <a:gd name="connsiteX1" fmla="*/ 4451793 w 4451793"/>
              <a:gd name="connsiteY1" fmla="*/ 0 h 4428710"/>
              <a:gd name="connsiteX2" fmla="*/ 4417765 w 4451793"/>
              <a:gd name="connsiteY2" fmla="*/ 4418261 h 4428710"/>
              <a:gd name="connsiteX3" fmla="*/ 0 w 4451793"/>
              <a:gd name="connsiteY3" fmla="*/ 4428710 h 4428710"/>
              <a:gd name="connsiteX4" fmla="*/ 1939568 w 4451793"/>
              <a:gd name="connsiteY4" fmla="*/ 23909 h 4428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1793" h="4428710">
                <a:moveTo>
                  <a:pt x="1939568" y="23909"/>
                </a:moveTo>
                <a:lnTo>
                  <a:pt x="4451793" y="0"/>
                </a:lnTo>
                <a:lnTo>
                  <a:pt x="4417765" y="4418261"/>
                </a:lnTo>
                <a:lnTo>
                  <a:pt x="0" y="4428710"/>
                </a:lnTo>
                <a:cubicBezTo>
                  <a:pt x="1025134" y="2115161"/>
                  <a:pt x="1136461" y="1877695"/>
                  <a:pt x="1939568" y="23909"/>
                </a:cubicBezTo>
                <a:close/>
              </a:path>
            </a:pathLst>
          </a:custGeom>
          <a:solidFill>
            <a:schemeClr val="tx1">
              <a:lumMod val="75000"/>
            </a:schemeClr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/>
          <a:p>
            <a:pPr marL="273582" indent="-273582">
              <a:lnSpc>
                <a:spcPct val="90000"/>
              </a:lnSpc>
              <a:spcBef>
                <a:spcPts val="2400"/>
              </a:spcBef>
              <a:buClr>
                <a:schemeClr val="tx1"/>
              </a:buClr>
              <a:buFont typeface="Arial" pitchFamily="34" charset="0"/>
              <a:buChar char="•"/>
            </a:pPr>
            <a:endParaRPr lang="en-US" sz="1094" dirty="0">
              <a:solidFill>
                <a:schemeClr val="bg1"/>
              </a:solidFill>
              <a:latin typeface="Futura Std Medium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C1A938-8E63-4487-8187-FD813DBAC4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66519" y="1806330"/>
            <a:ext cx="6354327" cy="4529286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20533E6B-B2D1-4333-A682-B289136FBB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18B9007-A17B-4620-8833-6AA9DF6B5E36}"/>
              </a:ext>
            </a:extLst>
          </p:cNvPr>
          <p:cNvCxnSpPr/>
          <p:nvPr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2BB08A27-C98F-412F-8BA4-354AFAD4C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D9920C-0F20-468D-843B-76C8A73DA3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993" y="1431019"/>
            <a:ext cx="2879468" cy="152947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2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CALL OUT TEXT</a:t>
            </a:r>
          </a:p>
        </p:txBody>
      </p:sp>
    </p:spTree>
    <p:extLst>
      <p:ext uri="{BB962C8B-B14F-4D97-AF65-F5344CB8AC3E}">
        <p14:creationId xmlns:p14="http://schemas.microsoft.com/office/powerpoint/2010/main" val="3681531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152" y="1222375"/>
            <a:ext cx="10881360" cy="4956048"/>
          </a:xfrm>
        </p:spPr>
        <p:txBody>
          <a:bodyPr>
            <a:noAutofit/>
          </a:bodyPr>
          <a:lstStyle>
            <a:lvl1pPr marL="273582" indent="-273582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defRPr sz="2400" b="0">
                <a:solidFill>
                  <a:schemeClr val="tx1"/>
                </a:solidFill>
                <a:latin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 sz="2000" b="0">
                <a:solidFill>
                  <a:schemeClr val="tx1"/>
                </a:solidFill>
                <a:latin typeface="+mn-lt"/>
              </a:defRPr>
            </a:lvl2pPr>
            <a:lvl3pPr marL="914400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defRPr sz="1800" b="0">
                <a:solidFill>
                  <a:schemeClr val="tx1"/>
                </a:solidFill>
                <a:latin typeface="+mn-lt"/>
              </a:defRPr>
            </a:lvl3pPr>
            <a:lvl4pPr marL="1197864" indent="-210312"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4pPr>
            <a:lvl5pPr marL="1444752" indent="-182880">
              <a:lnSpc>
                <a:spcPct val="90000"/>
              </a:lnSpc>
              <a:defRPr sz="1400" b="0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33715" y="1222375"/>
            <a:ext cx="5430358" cy="4956048"/>
          </a:xfrm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400" baseline="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66141" y="1222375"/>
            <a:ext cx="5359241" cy="4956048"/>
          </a:xfrm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093" y="1222375"/>
            <a:ext cx="3429000" cy="49560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 baseline="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383422" y="1222375"/>
            <a:ext cx="3429000" cy="4956048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903" y="1222375"/>
            <a:ext cx="3429000" cy="4956048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30" imgW="383" imgH="384" progId="TCLayout.ActiveDocument.1">
                  <p:embed/>
                </p:oleObj>
              </mc:Choice>
              <mc:Fallback>
                <p:oleObj name="think-cell Slide" r:id="rId30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2164E37-B9EF-4F5C-BAC3-99D4D9B95273}"/>
              </a:ext>
            </a:extLst>
          </p:cNvPr>
          <p:cNvSpPr/>
          <p:nvPr/>
        </p:nvSpPr>
        <p:spPr>
          <a:xfrm>
            <a:off x="0" y="6458381"/>
            <a:ext cx="10332720" cy="399619"/>
          </a:xfrm>
          <a:prstGeom prst="rtTriangl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445847A-EA61-43F6-AC67-FDC7D6323393}"/>
              </a:ext>
            </a:extLst>
          </p:cNvPr>
          <p:cNvSpPr/>
          <p:nvPr/>
        </p:nvSpPr>
        <p:spPr>
          <a:xfrm flipH="1">
            <a:off x="1859280" y="6463405"/>
            <a:ext cx="10332720" cy="399619"/>
          </a:xfrm>
          <a:prstGeom prst="rtTriangle">
            <a:avLst/>
          </a:prstGeom>
          <a:gradFill>
            <a:gsLst>
              <a:gs pos="2000">
                <a:schemeClr val="bg2">
                  <a:lumMod val="50000"/>
                </a:schemeClr>
              </a:gs>
              <a:gs pos="33000">
                <a:schemeClr val="bg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940" y="342894"/>
            <a:ext cx="10259568" cy="393954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8953" y="1222375"/>
            <a:ext cx="10879943" cy="49560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6"/>
          <p:cNvSpPr txBox="1">
            <a:spLocks noChangeArrowheads="1"/>
          </p:cNvSpPr>
          <p:nvPr/>
        </p:nvSpPr>
        <p:spPr bwMode="ltGray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2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B9CCE49-061F-4B65-8FE8-CB964C8B4138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03" r:id="rId2"/>
    <p:sldLayoutId id="2147483819" r:id="rId3"/>
    <p:sldLayoutId id="2147483708" r:id="rId4"/>
    <p:sldLayoutId id="2147483725" r:id="rId5"/>
    <p:sldLayoutId id="2147483820" r:id="rId6"/>
    <p:sldLayoutId id="2147483650" r:id="rId7"/>
    <p:sldLayoutId id="2147483652" r:id="rId8"/>
    <p:sldLayoutId id="2147483653" r:id="rId9"/>
    <p:sldLayoutId id="2147483938" r:id="rId10"/>
    <p:sldLayoutId id="2147483654" r:id="rId11"/>
    <p:sldLayoutId id="2147483716" r:id="rId12"/>
    <p:sldLayoutId id="2147483842" r:id="rId13"/>
    <p:sldLayoutId id="2147483943" r:id="rId14"/>
    <p:sldLayoutId id="2147483953" r:id="rId15"/>
    <p:sldLayoutId id="2147483952" r:id="rId16"/>
    <p:sldLayoutId id="2147483949" r:id="rId17"/>
    <p:sldLayoutId id="2147483768" r:id="rId18"/>
    <p:sldLayoutId id="2147483962" r:id="rId19"/>
    <p:sldLayoutId id="2147483956" r:id="rId20"/>
    <p:sldLayoutId id="2147483955" r:id="rId21"/>
    <p:sldLayoutId id="2147483957" r:id="rId22"/>
    <p:sldLayoutId id="2147483845" r:id="rId23"/>
    <p:sldLayoutId id="2147483959" r:id="rId24"/>
    <p:sldLayoutId id="2147483701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3582" indent="-273582" algn="l" defTabSz="1086775" rtl="0" eaLnBrk="1" latinLnBrk="0" hangingPunct="1">
        <a:lnSpc>
          <a:spcPct val="90000"/>
        </a:lnSpc>
        <a:spcBef>
          <a:spcPts val="1800"/>
        </a:spcBef>
        <a:buClr>
          <a:schemeClr val="tx1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58368" indent="-271694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10312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97864" indent="-210312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itchFamily="34" charset="0"/>
        <a:buChar char="–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444752" indent="-18288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B081AF47-E523-4F73-808E-CE05D0AE2C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7701" y="1463040"/>
            <a:ext cx="6108327" cy="1935933"/>
          </a:xfrm>
        </p:spPr>
        <p:txBody>
          <a:bodyPr/>
          <a:lstStyle/>
          <a:p>
            <a:r>
              <a:rPr lang="en-US" dirty="0"/>
              <a:t>Guiding Questions For </a:t>
            </a:r>
            <a:r>
              <a:rPr lang="en-US" dirty="0" err="1"/>
              <a:t>Thingworx</a:t>
            </a:r>
            <a:r>
              <a:rPr lang="en-US" dirty="0"/>
              <a:t> Analytics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B53B307A-E727-4DA0-BBC8-72A89661652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F5D15BA-71EC-42FB-9EDB-B736A489A0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2EA270E-3612-4480-AF0D-2057F10F0F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70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4835E37-32B7-437C-A27C-1D768C6CAE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efore the start of the development think of the added business value</a:t>
            </a:r>
            <a:endParaRPr lang="de-AT"/>
          </a:p>
          <a:p>
            <a:pPr lvl="1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92F91AB-DA09-4395-8023-EA5CED5AF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cted Outcom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086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theme1.xml><?xml version="1.0" encoding="utf-8"?>
<a:theme xmlns:a="http://schemas.openxmlformats.org/drawingml/2006/main" name="PTC PowerPoint Template">
  <a:themeElements>
    <a:clrScheme name="Custom 27">
      <a:dk1>
        <a:srgbClr val="3D4647"/>
      </a:dk1>
      <a:lt1>
        <a:srgbClr val="FFFFFF"/>
      </a:lt1>
      <a:dk2>
        <a:srgbClr val="C8C9C7"/>
      </a:dk2>
      <a:lt2>
        <a:srgbClr val="6CC04A"/>
      </a:lt2>
      <a:accent1>
        <a:srgbClr val="236192"/>
      </a:accent1>
      <a:accent2>
        <a:srgbClr val="00ACC8"/>
      </a:accent2>
      <a:accent3>
        <a:srgbClr val="F38B00"/>
      </a:accent3>
      <a:accent4>
        <a:srgbClr val="007A3E"/>
      </a:accent4>
      <a:accent5>
        <a:srgbClr val="F1B434"/>
      </a:accent5>
      <a:accent6>
        <a:srgbClr val="912F46"/>
      </a:accent6>
      <a:hlink>
        <a:srgbClr val="F1B434"/>
      </a:hlink>
      <a:folHlink>
        <a:srgbClr val="F1B434"/>
      </a:folHlink>
    </a:clrScheme>
    <a:fontScheme name="Custom 3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800"/>
          </a:spcBef>
          <a:defRPr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gradFill>
            <a:gsLst>
              <a:gs pos="100000">
                <a:schemeClr val="bg2"/>
              </a:gs>
              <a:gs pos="0">
                <a:schemeClr val="tx1"/>
              </a:gs>
            </a:gsLst>
            <a:lin ang="2700000" scaled="0"/>
          </a:gra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0" tIns="0" rIns="0" bIns="0" rtlCol="0">
        <a:spAutoFit/>
      </a:bodyPr>
      <a:lstStyle>
        <a:defPPr algn="l">
          <a:lnSpc>
            <a:spcPct val="90000"/>
          </a:lnSpc>
          <a:spcBef>
            <a:spcPts val="800"/>
          </a:spcBef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PowerPoint Template.pptx" id="{70013312-4564-477C-BC17-3C9A55589480}" vid="{16D5ACB0-89B8-4775-A7F4-838A378FE52A}"/>
    </a:ext>
  </a:extLst>
</a:theme>
</file>

<file path=ppt/theme/theme2.xml><?xml version="1.0" encoding="utf-8"?>
<a:theme xmlns:a="http://schemas.openxmlformats.org/drawingml/2006/main" name="Office Theme">
  <a:themeElements>
    <a:clrScheme name="PTC RGB Colors">
      <a:dk1>
        <a:srgbClr val="4D585B"/>
      </a:dk1>
      <a:lt1>
        <a:srgbClr val="FFFFFF"/>
      </a:lt1>
      <a:dk2>
        <a:srgbClr val="6CC04A"/>
      </a:dk2>
      <a:lt2>
        <a:srgbClr val="C8C9C7"/>
      </a:lt2>
      <a:accent1>
        <a:srgbClr val="236192"/>
      </a:accent1>
      <a:accent2>
        <a:srgbClr val="00ACC8"/>
      </a:accent2>
      <a:accent3>
        <a:srgbClr val="F38B00"/>
      </a:accent3>
      <a:accent4>
        <a:srgbClr val="007A3E"/>
      </a:accent4>
      <a:accent5>
        <a:srgbClr val="F1B434"/>
      </a:accent5>
      <a:accent6>
        <a:srgbClr val="912F46"/>
      </a:accent6>
      <a:hlink>
        <a:srgbClr val="236192"/>
      </a:hlink>
      <a:folHlink>
        <a:srgbClr val="236192"/>
      </a:folHlink>
    </a:clrScheme>
    <a:fontScheme name="Custom 3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F59F64F843A4499A6AB08132253816" ma:contentTypeVersion="12" ma:contentTypeDescription="Create a new document." ma:contentTypeScope="" ma:versionID="afa0f730fa396c3e750b414bdc7d6cce">
  <xsd:schema xmlns:xsd="http://www.w3.org/2001/XMLSchema" xmlns:xs="http://www.w3.org/2001/XMLSchema" xmlns:p="http://schemas.microsoft.com/office/2006/metadata/properties" xmlns:ns2="1594aeca-16a6-4bde-ac7f-243d406cc6b2" xmlns:ns3="b28ba09b-1c42-4cba-898d-2155c9b851d7" targetNamespace="http://schemas.microsoft.com/office/2006/metadata/properties" ma:root="true" ma:fieldsID="bfe46eef62f387fd775ee87e3778a0a6" ns2:_="" ns3:_="">
    <xsd:import namespace="1594aeca-16a6-4bde-ac7f-243d406cc6b2"/>
    <xsd:import namespace="b28ba09b-1c42-4cba-898d-2155c9b851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94aeca-16a6-4bde-ac7f-243d406cc6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8ba09b-1c42-4cba-898d-2155c9b851d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306CAE4-AE81-4141-87E7-18B3536C1FB9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b28ba09b-1c42-4cba-898d-2155c9b851d7"/>
    <ds:schemaRef ds:uri="http://schemas.microsoft.com/office/2006/documentManagement/types"/>
    <ds:schemaRef ds:uri="1594aeca-16a6-4bde-ac7f-243d406cc6b2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6592E76-12CD-4F3D-9D1F-00B2C53E98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94aeca-16a6-4bde-ac7f-243d406cc6b2"/>
    <ds:schemaRef ds:uri="b28ba09b-1c42-4cba-898d-2155c9b851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BFF597D-B9A9-4DB7-A678-732944043FB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</Words>
  <Application>Microsoft Office PowerPoint</Application>
  <PresentationFormat>Widescreen</PresentationFormat>
  <Paragraphs>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Arial Narrow</vt:lpstr>
      <vt:lpstr>Calibri</vt:lpstr>
      <vt:lpstr>Century Gothic</vt:lpstr>
      <vt:lpstr>Futura Std Medium</vt:lpstr>
      <vt:lpstr>PTC PowerPoint Template</vt:lpstr>
      <vt:lpstr>think-cell Slide</vt:lpstr>
      <vt:lpstr>Guiding Questions For Thingworx Analytics</vt:lpstr>
      <vt:lpstr>Expected Outco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iding Questions For Thingworx Analytics</dc:title>
  <dc:creator>Altenriederer, Juergen</dc:creator>
  <cp:lastModifiedBy>Altenriederer, Juergen</cp:lastModifiedBy>
  <cp:revision>1</cp:revision>
  <dcterms:created xsi:type="dcterms:W3CDTF">2021-07-14T13:54:18Z</dcterms:created>
  <dcterms:modified xsi:type="dcterms:W3CDTF">2021-07-14T13:5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F59F64F843A4499A6AB08132253816</vt:lpwstr>
  </property>
</Properties>
</file>